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4" r:id="rId3"/>
  </p:sldMasterIdLst>
  <p:notesMasterIdLst>
    <p:notesMasterId r:id="rId23"/>
  </p:notesMasterIdLst>
  <p:sldIdLst>
    <p:sldId id="320" r:id="rId4"/>
    <p:sldId id="326" r:id="rId5"/>
    <p:sldId id="330" r:id="rId6"/>
    <p:sldId id="331" r:id="rId7"/>
    <p:sldId id="376" r:id="rId8"/>
    <p:sldId id="339" r:id="rId9"/>
    <p:sldId id="389" r:id="rId10"/>
    <p:sldId id="390" r:id="rId11"/>
    <p:sldId id="334" r:id="rId12"/>
    <p:sldId id="363" r:id="rId13"/>
    <p:sldId id="377" r:id="rId14"/>
    <p:sldId id="393" r:id="rId15"/>
    <p:sldId id="394" r:id="rId16"/>
    <p:sldId id="378" r:id="rId17"/>
    <p:sldId id="379" r:id="rId18"/>
    <p:sldId id="381" r:id="rId19"/>
    <p:sldId id="380" r:id="rId20"/>
    <p:sldId id="395" r:id="rId21"/>
    <p:sldId id="375" r:id="rId22"/>
  </p:sldIdLst>
  <p:sldSz cx="9144000" cy="5143500" type="screen16x9"/>
  <p:notesSz cx="6858000" cy="9144000"/>
  <p:custDataLst>
    <p:tags r:id="rId24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3194" autoAdjust="0"/>
    <p:restoredTop sz="94286" autoAdjust="0"/>
  </p:normalViewPr>
  <p:slideViewPr>
    <p:cSldViewPr>
      <p:cViewPr>
        <p:scale>
          <a:sx n="125" d="100"/>
          <a:sy n="125" d="100"/>
        </p:scale>
        <p:origin x="792" y="3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vasilak1\Downloads\segment_mean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Population per Seg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l-G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C$26:$C$28</c:f>
              <c:strCache>
                <c:ptCount val="3"/>
                <c:pt idx="0">
                  <c:v>High</c:v>
                </c:pt>
                <c:pt idx="1">
                  <c:v>Low</c:v>
                </c:pt>
                <c:pt idx="2">
                  <c:v>Mid</c:v>
                </c:pt>
              </c:strCache>
            </c:strRef>
          </c:cat>
          <c:val>
            <c:numRef>
              <c:f>Sheet1!$D$26:$D$28</c:f>
              <c:numCache>
                <c:formatCode>General</c:formatCode>
                <c:ptCount val="3"/>
                <c:pt idx="0">
                  <c:v>2.2757697456492636E-2</c:v>
                </c:pt>
                <c:pt idx="1">
                  <c:v>0.60642570281124497</c:v>
                </c:pt>
                <c:pt idx="2">
                  <c:v>0.37081659973226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3F-489D-98F7-0DB1DDB1E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06486776"/>
        <c:axId val="406486448"/>
      </c:barChart>
      <c:catAx>
        <c:axId val="406486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406486448"/>
        <c:crosses val="autoZero"/>
        <c:auto val="1"/>
        <c:lblAlgn val="ctr"/>
        <c:lblOffset val="100"/>
        <c:noMultiLvlLbl val="0"/>
      </c:catAx>
      <c:valAx>
        <c:axId val="406486448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406486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1E433E-29F2-4D2C-80AB-F6CC3F9E0A73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12CF160-F9FC-4140-9E2C-C48429296083}">
      <dgm:prSet phldrT="[Text]"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Understand Customer Needs &amp; Behavior </a:t>
          </a:r>
        </a:p>
      </dgm:t>
    </dgm:pt>
    <dgm:pt modelId="{F72B5187-1473-43C4-B29B-B2EDB0C27D32}" type="parTrans" cxnId="{EC9174A0-B226-4FBF-893A-1357BF7A4CDE}">
      <dgm:prSet/>
      <dgm:spPr/>
      <dgm:t>
        <a:bodyPr/>
        <a:lstStyle/>
        <a:p>
          <a:endParaRPr lang="en-US"/>
        </a:p>
      </dgm:t>
    </dgm:pt>
    <dgm:pt modelId="{FC876D25-996B-4A22-88CD-F89138E19BB5}" type="sibTrans" cxnId="{EC9174A0-B226-4FBF-893A-1357BF7A4CDE}">
      <dgm:prSet/>
      <dgm:spPr>
        <a:solidFill>
          <a:schemeClr val="bg1">
            <a:lumMod val="65000"/>
          </a:schemeClr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AADEB1D0-7557-437F-9DC6-A655B62E9DBA}">
      <dgm:prSet phldrT="[Text]"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/>
            <a:t>Enhance the value of the existing customer database</a:t>
          </a:r>
        </a:p>
      </dgm:t>
    </dgm:pt>
    <dgm:pt modelId="{1BB38B40-FAC9-44B6-864C-4561C7FA47FA}" type="parTrans" cxnId="{F3CFA84F-9682-4A05-8B6F-7934F886BD91}">
      <dgm:prSet/>
      <dgm:spPr/>
      <dgm:t>
        <a:bodyPr/>
        <a:lstStyle/>
        <a:p>
          <a:endParaRPr lang="en-US"/>
        </a:p>
      </dgm:t>
    </dgm:pt>
    <dgm:pt modelId="{624577BE-2873-4396-A595-B92F01F988ED}" type="sibTrans" cxnId="{F3CFA84F-9682-4A05-8B6F-7934F886BD91}">
      <dgm:prSet/>
      <dgm:spPr/>
      <dgm:t>
        <a:bodyPr/>
        <a:lstStyle/>
        <a:p>
          <a:endParaRPr lang="en-US"/>
        </a:p>
      </dgm:t>
    </dgm:pt>
    <dgm:pt modelId="{9E16E869-A034-4AB4-BD18-C5EB779C0A26}">
      <dgm:prSet phldrT="[Text]"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/>
            <a:t>Target products &amp; services at specific customer groups</a:t>
          </a:r>
        </a:p>
      </dgm:t>
    </dgm:pt>
    <dgm:pt modelId="{7E72ECB1-00D6-459D-85E7-0F0EAEFC74AE}" type="parTrans" cxnId="{AA949908-529D-478A-86B5-4E64B8CEAE5E}">
      <dgm:prSet/>
      <dgm:spPr/>
      <dgm:t>
        <a:bodyPr/>
        <a:lstStyle/>
        <a:p>
          <a:endParaRPr lang="en-US"/>
        </a:p>
      </dgm:t>
    </dgm:pt>
    <dgm:pt modelId="{41317560-5604-4483-BA2E-31E952BB43A9}" type="sibTrans" cxnId="{AA949908-529D-478A-86B5-4E64B8CEAE5E}">
      <dgm:prSet/>
      <dgm:spPr/>
      <dgm:t>
        <a:bodyPr/>
        <a:lstStyle/>
        <a:p>
          <a:endParaRPr lang="en-US"/>
        </a:p>
      </dgm:t>
    </dgm:pt>
    <dgm:pt modelId="{F01429CC-25BC-4CB0-B165-C21F2315048B}">
      <dgm:prSet phldrT="[Text]"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/>
            <a:t>Execute targeted Campaigns</a:t>
          </a:r>
        </a:p>
      </dgm:t>
    </dgm:pt>
    <dgm:pt modelId="{441BE52B-BB6D-4CFA-84BD-0E5832581EB9}" type="parTrans" cxnId="{3117317E-AD97-4235-BE7D-99F598AE2BFF}">
      <dgm:prSet/>
      <dgm:spPr/>
      <dgm:t>
        <a:bodyPr/>
        <a:lstStyle/>
        <a:p>
          <a:endParaRPr lang="en-US"/>
        </a:p>
      </dgm:t>
    </dgm:pt>
    <dgm:pt modelId="{A6621F6E-B5EF-4553-A202-95222B6A7D31}" type="sibTrans" cxnId="{3117317E-AD97-4235-BE7D-99F598AE2BFF}">
      <dgm:prSet/>
      <dgm:spPr/>
      <dgm:t>
        <a:bodyPr/>
        <a:lstStyle/>
        <a:p>
          <a:endParaRPr lang="en-US"/>
        </a:p>
      </dgm:t>
    </dgm:pt>
    <dgm:pt modelId="{34B6EC27-05FF-4D2D-9585-06FF7A50D242}">
      <dgm:prSet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/>
            <a:t>Monitor campaigns efficiency </a:t>
          </a:r>
        </a:p>
      </dgm:t>
    </dgm:pt>
    <dgm:pt modelId="{EEFCE4C7-9FD6-46A3-A453-122895BC3DD4}" type="parTrans" cxnId="{CCCAA43D-DA7C-4F59-8F94-9B2AF696A1F9}">
      <dgm:prSet/>
      <dgm:spPr/>
      <dgm:t>
        <a:bodyPr/>
        <a:lstStyle/>
        <a:p>
          <a:endParaRPr lang="en-US"/>
        </a:p>
      </dgm:t>
    </dgm:pt>
    <dgm:pt modelId="{91A2A807-D95B-4B88-AC6E-22B5B7F62C0B}" type="sibTrans" cxnId="{CCCAA43D-DA7C-4F59-8F94-9B2AF696A1F9}">
      <dgm:prSet/>
      <dgm:spPr/>
      <dgm:t>
        <a:bodyPr/>
        <a:lstStyle/>
        <a:p>
          <a:endParaRPr lang="en-US"/>
        </a:p>
      </dgm:t>
    </dgm:pt>
    <dgm:pt modelId="{B19E3A64-B7D2-4C1E-A62A-E7BA8F07CEB4}">
      <dgm:prSet custT="1"/>
      <dgm:spPr>
        <a:solidFill>
          <a:srgbClr val="6C6C6C"/>
        </a:solidFill>
        <a:ln>
          <a:solidFill>
            <a:srgbClr val="6C6C6C"/>
          </a:solidFill>
        </a:ln>
      </dgm:spPr>
      <dgm:t>
        <a:bodyPr/>
        <a:lstStyle/>
        <a:p>
          <a:r>
            <a:rPr lang="en-US" sz="1600" b="1" dirty="0"/>
            <a:t>Improve services based on customer needs</a:t>
          </a:r>
        </a:p>
      </dgm:t>
    </dgm:pt>
    <dgm:pt modelId="{37A44B40-9CE5-4A85-84DA-36185C58DF16}" type="parTrans" cxnId="{1B1304C2-DC49-4741-A634-B0535036375E}">
      <dgm:prSet/>
      <dgm:spPr/>
      <dgm:t>
        <a:bodyPr/>
        <a:lstStyle/>
        <a:p>
          <a:endParaRPr lang="en-US"/>
        </a:p>
      </dgm:t>
    </dgm:pt>
    <dgm:pt modelId="{53EA1E25-7C5B-4D7C-88F6-F4421BCBCCFB}" type="sibTrans" cxnId="{1B1304C2-DC49-4741-A634-B0535036375E}">
      <dgm:prSet/>
      <dgm:spPr/>
      <dgm:t>
        <a:bodyPr/>
        <a:lstStyle/>
        <a:p>
          <a:endParaRPr lang="en-US"/>
        </a:p>
      </dgm:t>
    </dgm:pt>
    <dgm:pt modelId="{3D075F67-56D7-470E-9456-50E8EB6F03A4}" type="pres">
      <dgm:prSet presAssocID="{511E433E-29F2-4D2C-80AB-F6CC3F9E0A73}" presName="Name0" presStyleCnt="0">
        <dgm:presLayoutVars>
          <dgm:chMax val="7"/>
          <dgm:chPref val="7"/>
          <dgm:dir/>
        </dgm:presLayoutVars>
      </dgm:prSet>
      <dgm:spPr/>
    </dgm:pt>
    <dgm:pt modelId="{71ECFF14-B754-418E-89FB-D6C3229D6EA5}" type="pres">
      <dgm:prSet presAssocID="{511E433E-29F2-4D2C-80AB-F6CC3F9E0A73}" presName="Name1" presStyleCnt="0"/>
      <dgm:spPr/>
    </dgm:pt>
    <dgm:pt modelId="{9209140B-A7F2-4B8C-9D84-F052A6047046}" type="pres">
      <dgm:prSet presAssocID="{511E433E-29F2-4D2C-80AB-F6CC3F9E0A73}" presName="cycle" presStyleCnt="0"/>
      <dgm:spPr/>
    </dgm:pt>
    <dgm:pt modelId="{83860832-5A3F-4975-A5DF-6B789ED3B992}" type="pres">
      <dgm:prSet presAssocID="{511E433E-29F2-4D2C-80AB-F6CC3F9E0A73}" presName="srcNode" presStyleLbl="node1" presStyleIdx="0" presStyleCnt="6"/>
      <dgm:spPr/>
    </dgm:pt>
    <dgm:pt modelId="{3D51EA26-3C38-47A9-BB06-BB50F3878390}" type="pres">
      <dgm:prSet presAssocID="{511E433E-29F2-4D2C-80AB-F6CC3F9E0A73}" presName="conn" presStyleLbl="parChTrans1D2" presStyleIdx="0" presStyleCnt="1"/>
      <dgm:spPr/>
    </dgm:pt>
    <dgm:pt modelId="{AD879E18-ACA9-4C6F-A187-7673FA332A4F}" type="pres">
      <dgm:prSet presAssocID="{511E433E-29F2-4D2C-80AB-F6CC3F9E0A73}" presName="extraNode" presStyleLbl="node1" presStyleIdx="0" presStyleCnt="6"/>
      <dgm:spPr/>
    </dgm:pt>
    <dgm:pt modelId="{CB7B6FE7-E23B-4178-8F67-0091F0A65250}" type="pres">
      <dgm:prSet presAssocID="{511E433E-29F2-4D2C-80AB-F6CC3F9E0A73}" presName="dstNode" presStyleLbl="node1" presStyleIdx="0" presStyleCnt="6"/>
      <dgm:spPr/>
    </dgm:pt>
    <dgm:pt modelId="{7B5432FE-90CA-46A5-B98C-35260B0B6F62}" type="pres">
      <dgm:prSet presAssocID="{012CF160-F9FC-4140-9E2C-C48429296083}" presName="text_1" presStyleLbl="node1" presStyleIdx="0" presStyleCnt="6">
        <dgm:presLayoutVars>
          <dgm:bulletEnabled val="1"/>
        </dgm:presLayoutVars>
      </dgm:prSet>
      <dgm:spPr/>
    </dgm:pt>
    <dgm:pt modelId="{63D5BD09-4FAD-42A8-A306-2BC7C5B831A3}" type="pres">
      <dgm:prSet presAssocID="{012CF160-F9FC-4140-9E2C-C48429296083}" presName="accent_1" presStyleCnt="0"/>
      <dgm:spPr/>
    </dgm:pt>
    <dgm:pt modelId="{A3B19FD5-C67F-41A1-8EF3-97098C7F8846}" type="pres">
      <dgm:prSet presAssocID="{012CF160-F9FC-4140-9E2C-C48429296083}" presName="accentRepeatNode" presStyleLbl="solidFgAcc1" presStyleIdx="0" presStyleCnt="6"/>
      <dgm:spPr>
        <a:ln>
          <a:solidFill>
            <a:srgbClr val="E20074"/>
          </a:solidFill>
        </a:ln>
      </dgm:spPr>
    </dgm:pt>
    <dgm:pt modelId="{CB524722-F1FA-4090-B498-652464D2D72B}" type="pres">
      <dgm:prSet presAssocID="{AADEB1D0-7557-437F-9DC6-A655B62E9DBA}" presName="text_2" presStyleLbl="node1" presStyleIdx="1" presStyleCnt="6">
        <dgm:presLayoutVars>
          <dgm:bulletEnabled val="1"/>
        </dgm:presLayoutVars>
      </dgm:prSet>
      <dgm:spPr/>
    </dgm:pt>
    <dgm:pt modelId="{C0495887-8109-423C-86BD-53B8479CC3A4}" type="pres">
      <dgm:prSet presAssocID="{AADEB1D0-7557-437F-9DC6-A655B62E9DBA}" presName="accent_2" presStyleCnt="0"/>
      <dgm:spPr/>
    </dgm:pt>
    <dgm:pt modelId="{017BA3A9-4C5E-4E6C-8CAC-F995C3745368}" type="pres">
      <dgm:prSet presAssocID="{AADEB1D0-7557-437F-9DC6-A655B62E9DBA}" presName="accentRepeatNode" presStyleLbl="solidFgAcc1" presStyleIdx="1" presStyleCnt="6"/>
      <dgm:spPr>
        <a:ln>
          <a:solidFill>
            <a:srgbClr val="E20074"/>
          </a:solidFill>
        </a:ln>
      </dgm:spPr>
    </dgm:pt>
    <dgm:pt modelId="{0B9BF741-47E4-4BAB-93DD-BC06FD1478BE}" type="pres">
      <dgm:prSet presAssocID="{9E16E869-A034-4AB4-BD18-C5EB779C0A26}" presName="text_3" presStyleLbl="node1" presStyleIdx="2" presStyleCnt="6">
        <dgm:presLayoutVars>
          <dgm:bulletEnabled val="1"/>
        </dgm:presLayoutVars>
      </dgm:prSet>
      <dgm:spPr/>
    </dgm:pt>
    <dgm:pt modelId="{8F14AD10-FA95-4E02-9CBA-F534089916CA}" type="pres">
      <dgm:prSet presAssocID="{9E16E869-A034-4AB4-BD18-C5EB779C0A26}" presName="accent_3" presStyleCnt="0"/>
      <dgm:spPr/>
    </dgm:pt>
    <dgm:pt modelId="{EFE7FE40-F070-4AB6-B4DD-0973CC5AEFA9}" type="pres">
      <dgm:prSet presAssocID="{9E16E869-A034-4AB4-BD18-C5EB779C0A26}" presName="accentRepeatNode" presStyleLbl="solidFgAcc1" presStyleIdx="2" presStyleCnt="6"/>
      <dgm:spPr>
        <a:ln>
          <a:solidFill>
            <a:srgbClr val="E20074"/>
          </a:solidFill>
        </a:ln>
      </dgm:spPr>
    </dgm:pt>
    <dgm:pt modelId="{7232C6E0-DD54-4176-BACD-740D08169305}" type="pres">
      <dgm:prSet presAssocID="{F01429CC-25BC-4CB0-B165-C21F2315048B}" presName="text_4" presStyleLbl="node1" presStyleIdx="3" presStyleCnt="6">
        <dgm:presLayoutVars>
          <dgm:bulletEnabled val="1"/>
        </dgm:presLayoutVars>
      </dgm:prSet>
      <dgm:spPr/>
    </dgm:pt>
    <dgm:pt modelId="{7D75399D-DE81-4F09-A357-8ADB684FFE27}" type="pres">
      <dgm:prSet presAssocID="{F01429CC-25BC-4CB0-B165-C21F2315048B}" presName="accent_4" presStyleCnt="0"/>
      <dgm:spPr/>
    </dgm:pt>
    <dgm:pt modelId="{987D43CA-A8CF-48D8-915F-9E66BF1957AF}" type="pres">
      <dgm:prSet presAssocID="{F01429CC-25BC-4CB0-B165-C21F2315048B}" presName="accentRepeatNode" presStyleLbl="solidFgAcc1" presStyleIdx="3" presStyleCnt="6"/>
      <dgm:spPr>
        <a:ln>
          <a:solidFill>
            <a:srgbClr val="E20074"/>
          </a:solidFill>
        </a:ln>
      </dgm:spPr>
    </dgm:pt>
    <dgm:pt modelId="{A3614F6B-D761-4314-8AD5-8A68E751E1E3}" type="pres">
      <dgm:prSet presAssocID="{34B6EC27-05FF-4D2D-9585-06FF7A50D242}" presName="text_5" presStyleLbl="node1" presStyleIdx="4" presStyleCnt="6">
        <dgm:presLayoutVars>
          <dgm:bulletEnabled val="1"/>
        </dgm:presLayoutVars>
      </dgm:prSet>
      <dgm:spPr/>
    </dgm:pt>
    <dgm:pt modelId="{18FCFFDB-D0F0-465A-B1EA-FE57E1AB4FC8}" type="pres">
      <dgm:prSet presAssocID="{34B6EC27-05FF-4D2D-9585-06FF7A50D242}" presName="accent_5" presStyleCnt="0"/>
      <dgm:spPr/>
    </dgm:pt>
    <dgm:pt modelId="{2463E170-658F-4C2A-8C63-3DDCB0DEA86A}" type="pres">
      <dgm:prSet presAssocID="{34B6EC27-05FF-4D2D-9585-06FF7A50D242}" presName="accentRepeatNode" presStyleLbl="solidFgAcc1" presStyleIdx="4" presStyleCnt="6"/>
      <dgm:spPr>
        <a:ln>
          <a:solidFill>
            <a:srgbClr val="E20074"/>
          </a:solidFill>
        </a:ln>
      </dgm:spPr>
    </dgm:pt>
    <dgm:pt modelId="{BEF1701F-854A-4393-9BF5-161F4D803C33}" type="pres">
      <dgm:prSet presAssocID="{B19E3A64-B7D2-4C1E-A62A-E7BA8F07CEB4}" presName="text_6" presStyleLbl="node1" presStyleIdx="5" presStyleCnt="6" custScaleX="97439" custLinFactNeighborX="1035" custLinFactNeighborY="-4653">
        <dgm:presLayoutVars>
          <dgm:bulletEnabled val="1"/>
        </dgm:presLayoutVars>
      </dgm:prSet>
      <dgm:spPr/>
    </dgm:pt>
    <dgm:pt modelId="{CEA44255-6832-484B-B0AA-F7B2E1F0A26A}" type="pres">
      <dgm:prSet presAssocID="{B19E3A64-B7D2-4C1E-A62A-E7BA8F07CEB4}" presName="accent_6" presStyleCnt="0"/>
      <dgm:spPr/>
    </dgm:pt>
    <dgm:pt modelId="{A98A20CF-E4DC-438E-A08B-8FFE49AEEA94}" type="pres">
      <dgm:prSet presAssocID="{B19E3A64-B7D2-4C1E-A62A-E7BA8F07CEB4}" presName="accentRepeatNode" presStyleLbl="solidFgAcc1" presStyleIdx="5" presStyleCnt="6"/>
      <dgm:spPr>
        <a:ln>
          <a:solidFill>
            <a:srgbClr val="E20074"/>
          </a:solidFill>
        </a:ln>
      </dgm:spPr>
    </dgm:pt>
  </dgm:ptLst>
  <dgm:cxnLst>
    <dgm:cxn modelId="{AA949908-529D-478A-86B5-4E64B8CEAE5E}" srcId="{511E433E-29F2-4D2C-80AB-F6CC3F9E0A73}" destId="{9E16E869-A034-4AB4-BD18-C5EB779C0A26}" srcOrd="2" destOrd="0" parTransId="{7E72ECB1-00D6-459D-85E7-0F0EAEFC74AE}" sibTransId="{41317560-5604-4483-BA2E-31E952BB43A9}"/>
    <dgm:cxn modelId="{95EAEE2B-DE9E-4197-895A-287A90254950}" type="presOf" srcId="{B19E3A64-B7D2-4C1E-A62A-E7BA8F07CEB4}" destId="{BEF1701F-854A-4393-9BF5-161F4D803C33}" srcOrd="0" destOrd="0" presId="urn:microsoft.com/office/officeart/2008/layout/VerticalCurvedList"/>
    <dgm:cxn modelId="{CCCAA43D-DA7C-4F59-8F94-9B2AF696A1F9}" srcId="{511E433E-29F2-4D2C-80AB-F6CC3F9E0A73}" destId="{34B6EC27-05FF-4D2D-9585-06FF7A50D242}" srcOrd="4" destOrd="0" parTransId="{EEFCE4C7-9FD6-46A3-A453-122895BC3DD4}" sibTransId="{91A2A807-D95B-4B88-AC6E-22B5B7F62C0B}"/>
    <dgm:cxn modelId="{B6799868-3EF0-4D0C-AB4C-8C9B6ED0D57B}" type="presOf" srcId="{9E16E869-A034-4AB4-BD18-C5EB779C0A26}" destId="{0B9BF741-47E4-4BAB-93DD-BC06FD1478BE}" srcOrd="0" destOrd="0" presId="urn:microsoft.com/office/officeart/2008/layout/VerticalCurvedList"/>
    <dgm:cxn modelId="{F3CFA84F-9682-4A05-8B6F-7934F886BD91}" srcId="{511E433E-29F2-4D2C-80AB-F6CC3F9E0A73}" destId="{AADEB1D0-7557-437F-9DC6-A655B62E9DBA}" srcOrd="1" destOrd="0" parTransId="{1BB38B40-FAC9-44B6-864C-4561C7FA47FA}" sibTransId="{624577BE-2873-4396-A595-B92F01F988ED}"/>
    <dgm:cxn modelId="{3117317E-AD97-4235-BE7D-99F598AE2BFF}" srcId="{511E433E-29F2-4D2C-80AB-F6CC3F9E0A73}" destId="{F01429CC-25BC-4CB0-B165-C21F2315048B}" srcOrd="3" destOrd="0" parTransId="{441BE52B-BB6D-4CFA-84BD-0E5832581EB9}" sibTransId="{A6621F6E-B5EF-4553-A202-95222B6A7D31}"/>
    <dgm:cxn modelId="{27692D81-1A44-4C2E-B5F0-5BFF1700C175}" type="presOf" srcId="{F01429CC-25BC-4CB0-B165-C21F2315048B}" destId="{7232C6E0-DD54-4176-BACD-740D08169305}" srcOrd="0" destOrd="0" presId="urn:microsoft.com/office/officeart/2008/layout/VerticalCurvedList"/>
    <dgm:cxn modelId="{CFC5EB84-557D-49CA-9C37-6434012A83C6}" type="presOf" srcId="{511E433E-29F2-4D2C-80AB-F6CC3F9E0A73}" destId="{3D075F67-56D7-470E-9456-50E8EB6F03A4}" srcOrd="0" destOrd="0" presId="urn:microsoft.com/office/officeart/2008/layout/VerticalCurvedList"/>
    <dgm:cxn modelId="{3A3E2494-5BC3-4BB1-9736-5279CE6A17EB}" type="presOf" srcId="{AADEB1D0-7557-437F-9DC6-A655B62E9DBA}" destId="{CB524722-F1FA-4090-B498-652464D2D72B}" srcOrd="0" destOrd="0" presId="urn:microsoft.com/office/officeart/2008/layout/VerticalCurvedList"/>
    <dgm:cxn modelId="{EC9174A0-B226-4FBF-893A-1357BF7A4CDE}" srcId="{511E433E-29F2-4D2C-80AB-F6CC3F9E0A73}" destId="{012CF160-F9FC-4140-9E2C-C48429296083}" srcOrd="0" destOrd="0" parTransId="{F72B5187-1473-43C4-B29B-B2EDB0C27D32}" sibTransId="{FC876D25-996B-4A22-88CD-F89138E19BB5}"/>
    <dgm:cxn modelId="{78C6E5AA-4793-4CCD-A1F3-F9292C09805F}" type="presOf" srcId="{34B6EC27-05FF-4D2D-9585-06FF7A50D242}" destId="{A3614F6B-D761-4314-8AD5-8A68E751E1E3}" srcOrd="0" destOrd="0" presId="urn:microsoft.com/office/officeart/2008/layout/VerticalCurvedList"/>
    <dgm:cxn modelId="{1B1304C2-DC49-4741-A634-B0535036375E}" srcId="{511E433E-29F2-4D2C-80AB-F6CC3F9E0A73}" destId="{B19E3A64-B7D2-4C1E-A62A-E7BA8F07CEB4}" srcOrd="5" destOrd="0" parTransId="{37A44B40-9CE5-4A85-84DA-36185C58DF16}" sibTransId="{53EA1E25-7C5B-4D7C-88F6-F4421BCBCCFB}"/>
    <dgm:cxn modelId="{128262D7-F30C-4145-9763-76DADC9DAC1D}" type="presOf" srcId="{FC876D25-996B-4A22-88CD-F89138E19BB5}" destId="{3D51EA26-3C38-47A9-BB06-BB50F3878390}" srcOrd="0" destOrd="0" presId="urn:microsoft.com/office/officeart/2008/layout/VerticalCurvedList"/>
    <dgm:cxn modelId="{176072EF-DDF9-4E8B-BBBF-53FA5A781C93}" type="presOf" srcId="{012CF160-F9FC-4140-9E2C-C48429296083}" destId="{7B5432FE-90CA-46A5-B98C-35260B0B6F62}" srcOrd="0" destOrd="0" presId="urn:microsoft.com/office/officeart/2008/layout/VerticalCurvedList"/>
    <dgm:cxn modelId="{BEB23BAD-C59A-44D4-8819-10B4A2FCD16C}" type="presParOf" srcId="{3D075F67-56D7-470E-9456-50E8EB6F03A4}" destId="{71ECFF14-B754-418E-89FB-D6C3229D6EA5}" srcOrd="0" destOrd="0" presId="urn:microsoft.com/office/officeart/2008/layout/VerticalCurvedList"/>
    <dgm:cxn modelId="{73B59FF0-62A7-4D70-9C8F-6F55CD1CB549}" type="presParOf" srcId="{71ECFF14-B754-418E-89FB-D6C3229D6EA5}" destId="{9209140B-A7F2-4B8C-9D84-F052A6047046}" srcOrd="0" destOrd="0" presId="urn:microsoft.com/office/officeart/2008/layout/VerticalCurvedList"/>
    <dgm:cxn modelId="{FBEC9FDB-020F-4833-9FE9-47D093E665D6}" type="presParOf" srcId="{9209140B-A7F2-4B8C-9D84-F052A6047046}" destId="{83860832-5A3F-4975-A5DF-6B789ED3B992}" srcOrd="0" destOrd="0" presId="urn:microsoft.com/office/officeart/2008/layout/VerticalCurvedList"/>
    <dgm:cxn modelId="{5161D714-6DB1-47B0-899C-5BA4A3835417}" type="presParOf" srcId="{9209140B-A7F2-4B8C-9D84-F052A6047046}" destId="{3D51EA26-3C38-47A9-BB06-BB50F3878390}" srcOrd="1" destOrd="0" presId="urn:microsoft.com/office/officeart/2008/layout/VerticalCurvedList"/>
    <dgm:cxn modelId="{F486542E-FB75-47D8-A811-EC0704DD1C5A}" type="presParOf" srcId="{9209140B-A7F2-4B8C-9D84-F052A6047046}" destId="{AD879E18-ACA9-4C6F-A187-7673FA332A4F}" srcOrd="2" destOrd="0" presId="urn:microsoft.com/office/officeart/2008/layout/VerticalCurvedList"/>
    <dgm:cxn modelId="{036CF394-DD8B-40EA-8BB3-BEFB4FC37836}" type="presParOf" srcId="{9209140B-A7F2-4B8C-9D84-F052A6047046}" destId="{CB7B6FE7-E23B-4178-8F67-0091F0A65250}" srcOrd="3" destOrd="0" presId="urn:microsoft.com/office/officeart/2008/layout/VerticalCurvedList"/>
    <dgm:cxn modelId="{1F40C2DB-9972-4FFB-AEFD-F8A310671E7C}" type="presParOf" srcId="{71ECFF14-B754-418E-89FB-D6C3229D6EA5}" destId="{7B5432FE-90CA-46A5-B98C-35260B0B6F62}" srcOrd="1" destOrd="0" presId="urn:microsoft.com/office/officeart/2008/layout/VerticalCurvedList"/>
    <dgm:cxn modelId="{A72AD0A8-2D55-4BC0-A394-68CC72BD62FB}" type="presParOf" srcId="{71ECFF14-B754-418E-89FB-D6C3229D6EA5}" destId="{63D5BD09-4FAD-42A8-A306-2BC7C5B831A3}" srcOrd="2" destOrd="0" presId="urn:microsoft.com/office/officeart/2008/layout/VerticalCurvedList"/>
    <dgm:cxn modelId="{C515DAA1-3D82-44E8-9E72-953F88F6CDE7}" type="presParOf" srcId="{63D5BD09-4FAD-42A8-A306-2BC7C5B831A3}" destId="{A3B19FD5-C67F-41A1-8EF3-97098C7F8846}" srcOrd="0" destOrd="0" presId="urn:microsoft.com/office/officeart/2008/layout/VerticalCurvedList"/>
    <dgm:cxn modelId="{44D5A642-B92B-4303-AEA2-9068F676A0EE}" type="presParOf" srcId="{71ECFF14-B754-418E-89FB-D6C3229D6EA5}" destId="{CB524722-F1FA-4090-B498-652464D2D72B}" srcOrd="3" destOrd="0" presId="urn:microsoft.com/office/officeart/2008/layout/VerticalCurvedList"/>
    <dgm:cxn modelId="{FB2D74AF-53C3-4CC7-AEAA-96499D68737E}" type="presParOf" srcId="{71ECFF14-B754-418E-89FB-D6C3229D6EA5}" destId="{C0495887-8109-423C-86BD-53B8479CC3A4}" srcOrd="4" destOrd="0" presId="urn:microsoft.com/office/officeart/2008/layout/VerticalCurvedList"/>
    <dgm:cxn modelId="{A04A5CD2-7D35-4B51-B07A-CF31D67AE11B}" type="presParOf" srcId="{C0495887-8109-423C-86BD-53B8479CC3A4}" destId="{017BA3A9-4C5E-4E6C-8CAC-F995C3745368}" srcOrd="0" destOrd="0" presId="urn:microsoft.com/office/officeart/2008/layout/VerticalCurvedList"/>
    <dgm:cxn modelId="{1ACB5689-4FCB-4C67-9661-867A4CB16693}" type="presParOf" srcId="{71ECFF14-B754-418E-89FB-D6C3229D6EA5}" destId="{0B9BF741-47E4-4BAB-93DD-BC06FD1478BE}" srcOrd="5" destOrd="0" presId="urn:microsoft.com/office/officeart/2008/layout/VerticalCurvedList"/>
    <dgm:cxn modelId="{A2D960DA-A1A5-426A-A130-E483D4945551}" type="presParOf" srcId="{71ECFF14-B754-418E-89FB-D6C3229D6EA5}" destId="{8F14AD10-FA95-4E02-9CBA-F534089916CA}" srcOrd="6" destOrd="0" presId="urn:microsoft.com/office/officeart/2008/layout/VerticalCurvedList"/>
    <dgm:cxn modelId="{F749EF2A-6596-4467-8616-A8D20281E011}" type="presParOf" srcId="{8F14AD10-FA95-4E02-9CBA-F534089916CA}" destId="{EFE7FE40-F070-4AB6-B4DD-0973CC5AEFA9}" srcOrd="0" destOrd="0" presId="urn:microsoft.com/office/officeart/2008/layout/VerticalCurvedList"/>
    <dgm:cxn modelId="{49F12323-A603-46D5-AFAC-A21870B0526B}" type="presParOf" srcId="{71ECFF14-B754-418E-89FB-D6C3229D6EA5}" destId="{7232C6E0-DD54-4176-BACD-740D08169305}" srcOrd="7" destOrd="0" presId="urn:microsoft.com/office/officeart/2008/layout/VerticalCurvedList"/>
    <dgm:cxn modelId="{B4B3B300-6327-4274-8140-1D6D3878D111}" type="presParOf" srcId="{71ECFF14-B754-418E-89FB-D6C3229D6EA5}" destId="{7D75399D-DE81-4F09-A357-8ADB684FFE27}" srcOrd="8" destOrd="0" presId="urn:microsoft.com/office/officeart/2008/layout/VerticalCurvedList"/>
    <dgm:cxn modelId="{96959F4E-D03B-4259-8F0C-1589A86DF321}" type="presParOf" srcId="{7D75399D-DE81-4F09-A357-8ADB684FFE27}" destId="{987D43CA-A8CF-48D8-915F-9E66BF1957AF}" srcOrd="0" destOrd="0" presId="urn:microsoft.com/office/officeart/2008/layout/VerticalCurvedList"/>
    <dgm:cxn modelId="{5DBB1432-90EA-41D1-96DE-558A9F0768D8}" type="presParOf" srcId="{71ECFF14-B754-418E-89FB-D6C3229D6EA5}" destId="{A3614F6B-D761-4314-8AD5-8A68E751E1E3}" srcOrd="9" destOrd="0" presId="urn:microsoft.com/office/officeart/2008/layout/VerticalCurvedList"/>
    <dgm:cxn modelId="{7B38CA13-3554-4B9A-A681-D4A65E21BF8E}" type="presParOf" srcId="{71ECFF14-B754-418E-89FB-D6C3229D6EA5}" destId="{18FCFFDB-D0F0-465A-B1EA-FE57E1AB4FC8}" srcOrd="10" destOrd="0" presId="urn:microsoft.com/office/officeart/2008/layout/VerticalCurvedList"/>
    <dgm:cxn modelId="{96E90393-A93B-4408-B156-7593C1C1449E}" type="presParOf" srcId="{18FCFFDB-D0F0-465A-B1EA-FE57E1AB4FC8}" destId="{2463E170-658F-4C2A-8C63-3DDCB0DEA86A}" srcOrd="0" destOrd="0" presId="urn:microsoft.com/office/officeart/2008/layout/VerticalCurvedList"/>
    <dgm:cxn modelId="{79A14DAA-51B8-48BF-835F-4906C0677518}" type="presParOf" srcId="{71ECFF14-B754-418E-89FB-D6C3229D6EA5}" destId="{BEF1701F-854A-4393-9BF5-161F4D803C33}" srcOrd="11" destOrd="0" presId="urn:microsoft.com/office/officeart/2008/layout/VerticalCurvedList"/>
    <dgm:cxn modelId="{BEBB9646-9C05-438C-B2DB-567AC4CAAF12}" type="presParOf" srcId="{71ECFF14-B754-418E-89FB-D6C3229D6EA5}" destId="{CEA44255-6832-484B-B0AA-F7B2E1F0A26A}" srcOrd="12" destOrd="0" presId="urn:microsoft.com/office/officeart/2008/layout/VerticalCurvedList"/>
    <dgm:cxn modelId="{8E2574B3-25DE-4112-9838-302D97CB1769}" type="presParOf" srcId="{CEA44255-6832-484B-B0AA-F7B2E1F0A26A}" destId="{A98A20CF-E4DC-438E-A08B-8FFE49AEEA9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51EA26-3C38-47A9-BB06-BB50F3878390}">
      <dsp:nvSpPr>
        <dsp:cNvPr id="0" name=""/>
        <dsp:cNvSpPr/>
      </dsp:nvSpPr>
      <dsp:spPr>
        <a:xfrm>
          <a:off x="-3890854" y="-597460"/>
          <a:ext cx="4637131" cy="4637131"/>
        </a:xfrm>
        <a:prstGeom prst="blockArc">
          <a:avLst>
            <a:gd name="adj1" fmla="val 18900000"/>
            <a:gd name="adj2" fmla="val 2700000"/>
            <a:gd name="adj3" fmla="val 466"/>
          </a:avLst>
        </a:prstGeom>
        <a:solidFill>
          <a:schemeClr val="bg1">
            <a:lumMod val="65000"/>
          </a:schemeClr>
        </a:solidFill>
        <a:ln w="952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5432FE-90CA-46A5-B98C-35260B0B6F62}">
      <dsp:nvSpPr>
        <dsp:cNvPr id="0" name=""/>
        <dsp:cNvSpPr/>
      </dsp:nvSpPr>
      <dsp:spPr>
        <a:xfrm>
          <a:off x="279234" y="181266"/>
          <a:ext cx="6457334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Understand Customer Needs &amp; Behavior </a:t>
          </a:r>
        </a:p>
      </dsp:txBody>
      <dsp:txXfrm>
        <a:off x="279234" y="181266"/>
        <a:ext cx="6457334" cy="362395"/>
      </dsp:txXfrm>
    </dsp:sp>
    <dsp:sp modelId="{A3B19FD5-C67F-41A1-8EF3-97098C7F8846}">
      <dsp:nvSpPr>
        <dsp:cNvPr id="0" name=""/>
        <dsp:cNvSpPr/>
      </dsp:nvSpPr>
      <dsp:spPr>
        <a:xfrm>
          <a:off x="52736" y="135967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524722-F1FA-4090-B498-652464D2D72B}">
      <dsp:nvSpPr>
        <dsp:cNvPr id="0" name=""/>
        <dsp:cNvSpPr/>
      </dsp:nvSpPr>
      <dsp:spPr>
        <a:xfrm>
          <a:off x="577329" y="724791"/>
          <a:ext cx="6159239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Enhance the value of the existing customer database</a:t>
          </a:r>
        </a:p>
      </dsp:txBody>
      <dsp:txXfrm>
        <a:off x="577329" y="724791"/>
        <a:ext cx="6159239" cy="362395"/>
      </dsp:txXfrm>
    </dsp:sp>
    <dsp:sp modelId="{017BA3A9-4C5E-4E6C-8CAC-F995C3745368}">
      <dsp:nvSpPr>
        <dsp:cNvPr id="0" name=""/>
        <dsp:cNvSpPr/>
      </dsp:nvSpPr>
      <dsp:spPr>
        <a:xfrm>
          <a:off x="350832" y="679492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9BF741-47E4-4BAB-93DD-BC06FD1478BE}">
      <dsp:nvSpPr>
        <dsp:cNvPr id="0" name=""/>
        <dsp:cNvSpPr/>
      </dsp:nvSpPr>
      <dsp:spPr>
        <a:xfrm>
          <a:off x="713641" y="1268317"/>
          <a:ext cx="6022927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Target products &amp; services at specific customer groups</a:t>
          </a:r>
        </a:p>
      </dsp:txBody>
      <dsp:txXfrm>
        <a:off x="713641" y="1268317"/>
        <a:ext cx="6022927" cy="362395"/>
      </dsp:txXfrm>
    </dsp:sp>
    <dsp:sp modelId="{EFE7FE40-F070-4AB6-B4DD-0973CC5AEFA9}">
      <dsp:nvSpPr>
        <dsp:cNvPr id="0" name=""/>
        <dsp:cNvSpPr/>
      </dsp:nvSpPr>
      <dsp:spPr>
        <a:xfrm>
          <a:off x="487143" y="1223017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32C6E0-DD54-4176-BACD-740D08169305}">
      <dsp:nvSpPr>
        <dsp:cNvPr id="0" name=""/>
        <dsp:cNvSpPr/>
      </dsp:nvSpPr>
      <dsp:spPr>
        <a:xfrm>
          <a:off x="713641" y="1811497"/>
          <a:ext cx="6022927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Execute targeted Campaigns</a:t>
          </a:r>
        </a:p>
      </dsp:txBody>
      <dsp:txXfrm>
        <a:off x="713641" y="1811497"/>
        <a:ext cx="6022927" cy="362395"/>
      </dsp:txXfrm>
    </dsp:sp>
    <dsp:sp modelId="{987D43CA-A8CF-48D8-915F-9E66BF1957AF}">
      <dsp:nvSpPr>
        <dsp:cNvPr id="0" name=""/>
        <dsp:cNvSpPr/>
      </dsp:nvSpPr>
      <dsp:spPr>
        <a:xfrm>
          <a:off x="487143" y="1766198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614F6B-D761-4314-8AD5-8A68E751E1E3}">
      <dsp:nvSpPr>
        <dsp:cNvPr id="0" name=""/>
        <dsp:cNvSpPr/>
      </dsp:nvSpPr>
      <dsp:spPr>
        <a:xfrm>
          <a:off x="577329" y="2355023"/>
          <a:ext cx="6159239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Monitor campaigns efficiency </a:t>
          </a:r>
        </a:p>
      </dsp:txBody>
      <dsp:txXfrm>
        <a:off x="577329" y="2355023"/>
        <a:ext cx="6159239" cy="362395"/>
      </dsp:txXfrm>
    </dsp:sp>
    <dsp:sp modelId="{2463E170-658F-4C2A-8C63-3DDCB0DEA86A}">
      <dsp:nvSpPr>
        <dsp:cNvPr id="0" name=""/>
        <dsp:cNvSpPr/>
      </dsp:nvSpPr>
      <dsp:spPr>
        <a:xfrm>
          <a:off x="350832" y="2309723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1701F-854A-4393-9BF5-161F4D803C33}">
      <dsp:nvSpPr>
        <dsp:cNvPr id="0" name=""/>
        <dsp:cNvSpPr/>
      </dsp:nvSpPr>
      <dsp:spPr>
        <a:xfrm>
          <a:off x="428754" y="2881685"/>
          <a:ext cx="6291962" cy="362395"/>
        </a:xfrm>
        <a:prstGeom prst="rect">
          <a:avLst/>
        </a:prstGeom>
        <a:solidFill>
          <a:srgbClr val="6C6C6C"/>
        </a:solidFill>
        <a:ln>
          <a:solidFill>
            <a:srgbClr val="6C6C6C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7652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Improve services based on customer needs</a:t>
          </a:r>
        </a:p>
      </dsp:txBody>
      <dsp:txXfrm>
        <a:off x="428754" y="2881685"/>
        <a:ext cx="6291962" cy="362395"/>
      </dsp:txXfrm>
    </dsp:sp>
    <dsp:sp modelId="{A98A20CF-E4DC-438E-A08B-8FFE49AEEA94}">
      <dsp:nvSpPr>
        <dsp:cNvPr id="0" name=""/>
        <dsp:cNvSpPr/>
      </dsp:nvSpPr>
      <dsp:spPr>
        <a:xfrm>
          <a:off x="52736" y="2853248"/>
          <a:ext cx="452994" cy="452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E20074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CB56D3-7409-47DE-A8D5-514ACD04EF8F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28378-E181-4EF1-B354-7F1597BA1D66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92079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4378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903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839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010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6299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7220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4689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3073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49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3331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86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903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564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86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274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763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83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900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971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677553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52723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0084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39" y="1084"/>
          <a:ext cx="1440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39" y="1084"/>
                        <a:ext cx="1440" cy="10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051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40" y="308122"/>
            <a:ext cx="8351099" cy="80484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45592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40" y="308122"/>
            <a:ext cx="8351099" cy="80484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5465322" cy="3239436"/>
          </a:xfrm>
          <a:noFill/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777760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0843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258" y="0"/>
            <a:ext cx="9143743" cy="5143500"/>
            <a:chOff x="-3888545" y="-1231900"/>
            <a:chExt cx="6069809" cy="942478"/>
          </a:xfrm>
          <a:noFill/>
        </p:grpSpPr>
        <p:sp>
          <p:nvSpPr>
            <p:cNvPr id="6" name="Rechteck 5"/>
            <p:cNvSpPr/>
            <p:nvPr/>
          </p:nvSpPr>
          <p:spPr>
            <a:xfrm>
              <a:off x="-3888545" y="-1231900"/>
              <a:ext cx="1517831" cy="9424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32"/>
              <a:endParaRPr lang="de-DE" sz="1425">
                <a:solidFill>
                  <a:prstClr val="white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-2370714" y="-1231900"/>
              <a:ext cx="1516315" cy="9424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32"/>
              <a:endParaRPr lang="de-DE" sz="1425">
                <a:solidFill>
                  <a:prstClr val="white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-852883" y="-1231900"/>
              <a:ext cx="1516315" cy="9424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32"/>
              <a:endParaRPr lang="de-DE" sz="1425">
                <a:solidFill>
                  <a:prstClr val="white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664949" y="-1231900"/>
              <a:ext cx="1516315" cy="9424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32"/>
              <a:endParaRPr lang="de-DE" sz="1425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8884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8" y="0"/>
            <a:ext cx="2286506" cy="51435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32"/>
            <a:endParaRPr lang="de-DE" sz="1425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286764" y="0"/>
            <a:ext cx="2341444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32"/>
            <a:endParaRPr lang="de-DE" sz="1425">
              <a:solidFill>
                <a:prstClr val="white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573270" y="0"/>
            <a:ext cx="2284223" cy="51435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32"/>
            <a:endParaRPr lang="de-DE" sz="1425">
              <a:solidFill>
                <a:prstClr val="white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859778" y="0"/>
            <a:ext cx="2284223" cy="51435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32"/>
            <a:endParaRPr lang="de-DE" sz="1425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9557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ieren 9"/>
          <p:cNvGrpSpPr/>
          <p:nvPr userDrawn="1"/>
        </p:nvGrpSpPr>
        <p:grpSpPr>
          <a:xfrm>
            <a:off x="0" y="0"/>
            <a:ext cx="9216639" cy="5145882"/>
            <a:chOff x="-38100" y="0"/>
            <a:chExt cx="12325351" cy="6861176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-38100" y="0"/>
              <a:ext cx="1232535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069013" y="3175"/>
              <a:ext cx="5792788" cy="2714625"/>
            </a:xfrm>
            <a:custGeom>
              <a:avLst/>
              <a:gdLst>
                <a:gd name="T0" fmla="*/ 13 w 2380"/>
                <a:gd name="T1" fmla="*/ 1046 h 1131"/>
                <a:gd name="T2" fmla="*/ 588 w 2380"/>
                <a:gd name="T3" fmla="*/ 1131 h 1131"/>
                <a:gd name="T4" fmla="*/ 2380 w 2380"/>
                <a:gd name="T5" fmla="*/ 0 h 1131"/>
                <a:gd name="T6" fmla="*/ 0 w 2380"/>
                <a:gd name="T7" fmla="*/ 0 h 1131"/>
                <a:gd name="T8" fmla="*/ 0 w 2380"/>
                <a:gd name="T9" fmla="*/ 1046 h 1131"/>
                <a:gd name="T10" fmla="*/ 13 w 2380"/>
                <a:gd name="T11" fmla="*/ 1046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0" h="1131">
                  <a:moveTo>
                    <a:pt x="13" y="1046"/>
                  </a:moveTo>
                  <a:cubicBezTo>
                    <a:pt x="227" y="1046"/>
                    <a:pt x="426" y="1078"/>
                    <a:pt x="588" y="1131"/>
                  </a:cubicBezTo>
                  <a:cubicBezTo>
                    <a:pt x="2380" y="0"/>
                    <a:pt x="2380" y="0"/>
                    <a:pt x="238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46"/>
                    <a:pt x="0" y="1046"/>
                    <a:pt x="0" y="1046"/>
                  </a:cubicBezTo>
                  <a:cubicBezTo>
                    <a:pt x="4" y="1046"/>
                    <a:pt x="9" y="1046"/>
                    <a:pt x="13" y="10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93688" y="3175"/>
              <a:ext cx="5775325" cy="2724150"/>
            </a:xfrm>
            <a:custGeom>
              <a:avLst/>
              <a:gdLst>
                <a:gd name="T0" fmla="*/ 2373 w 2373"/>
                <a:gd name="T1" fmla="*/ 1046 h 1135"/>
                <a:gd name="T2" fmla="*/ 2373 w 2373"/>
                <a:gd name="T3" fmla="*/ 0 h 1135"/>
                <a:gd name="T4" fmla="*/ 0 w 2373"/>
                <a:gd name="T5" fmla="*/ 0 h 1135"/>
                <a:gd name="T6" fmla="*/ 1798 w 2373"/>
                <a:gd name="T7" fmla="*/ 1135 h 1135"/>
                <a:gd name="T8" fmla="*/ 2373 w 2373"/>
                <a:gd name="T9" fmla="*/ 1046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3" h="1135">
                  <a:moveTo>
                    <a:pt x="2373" y="1046"/>
                  </a:moveTo>
                  <a:cubicBezTo>
                    <a:pt x="2373" y="0"/>
                    <a:pt x="2373" y="0"/>
                    <a:pt x="23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98" y="1135"/>
                    <a:pt x="1798" y="1135"/>
                    <a:pt x="1798" y="1135"/>
                  </a:cubicBezTo>
                  <a:cubicBezTo>
                    <a:pt x="1959" y="1080"/>
                    <a:pt x="2158" y="1047"/>
                    <a:pt x="2373" y="10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499350" y="3175"/>
              <a:ext cx="4787900" cy="3271838"/>
            </a:xfrm>
            <a:custGeom>
              <a:avLst/>
              <a:gdLst>
                <a:gd name="T0" fmla="*/ 365 w 1967"/>
                <a:gd name="T1" fmla="*/ 1363 h 1363"/>
                <a:gd name="T2" fmla="*/ 1967 w 1967"/>
                <a:gd name="T3" fmla="*/ 1119 h 1363"/>
                <a:gd name="T4" fmla="*/ 1967 w 1967"/>
                <a:gd name="T5" fmla="*/ 0 h 1363"/>
                <a:gd name="T6" fmla="*/ 1792 w 1967"/>
                <a:gd name="T7" fmla="*/ 0 h 1363"/>
                <a:gd name="T8" fmla="*/ 0 w 1967"/>
                <a:gd name="T9" fmla="*/ 1131 h 1363"/>
                <a:gd name="T10" fmla="*/ 365 w 1967"/>
                <a:gd name="T11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7" h="1363">
                  <a:moveTo>
                    <a:pt x="365" y="1363"/>
                  </a:moveTo>
                  <a:cubicBezTo>
                    <a:pt x="1967" y="1119"/>
                    <a:pt x="1967" y="1119"/>
                    <a:pt x="1967" y="1119"/>
                  </a:cubicBezTo>
                  <a:cubicBezTo>
                    <a:pt x="1967" y="0"/>
                    <a:pt x="1967" y="0"/>
                    <a:pt x="1967" y="0"/>
                  </a:cubicBezTo>
                  <a:cubicBezTo>
                    <a:pt x="1792" y="0"/>
                    <a:pt x="1792" y="0"/>
                    <a:pt x="1792" y="0"/>
                  </a:cubicBezTo>
                  <a:cubicBezTo>
                    <a:pt x="0" y="1131"/>
                    <a:pt x="0" y="1131"/>
                    <a:pt x="0" y="1131"/>
                  </a:cubicBezTo>
                  <a:cubicBezTo>
                    <a:pt x="171" y="1188"/>
                    <a:pt x="301" y="1269"/>
                    <a:pt x="365" y="136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488238" y="3948113"/>
              <a:ext cx="4799013" cy="2913063"/>
            </a:xfrm>
            <a:custGeom>
              <a:avLst/>
              <a:gdLst>
                <a:gd name="T0" fmla="*/ 0 w 1972"/>
                <a:gd name="T1" fmla="*/ 227 h 1213"/>
                <a:gd name="T2" fmla="*/ 1566 w 1972"/>
                <a:gd name="T3" fmla="*/ 1213 h 1213"/>
                <a:gd name="T4" fmla="*/ 1972 w 1972"/>
                <a:gd name="T5" fmla="*/ 1213 h 1213"/>
                <a:gd name="T6" fmla="*/ 1972 w 1972"/>
                <a:gd name="T7" fmla="*/ 234 h 1213"/>
                <a:gd name="T8" fmla="*/ 366 w 1972"/>
                <a:gd name="T9" fmla="*/ 0 h 1213"/>
                <a:gd name="T10" fmla="*/ 0 w 1972"/>
                <a:gd name="T11" fmla="*/ 227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1213">
                  <a:moveTo>
                    <a:pt x="0" y="227"/>
                  </a:moveTo>
                  <a:cubicBezTo>
                    <a:pt x="1566" y="1213"/>
                    <a:pt x="1566" y="1213"/>
                    <a:pt x="1566" y="1213"/>
                  </a:cubicBezTo>
                  <a:cubicBezTo>
                    <a:pt x="1972" y="1213"/>
                    <a:pt x="1972" y="1213"/>
                    <a:pt x="1972" y="1213"/>
                  </a:cubicBezTo>
                  <a:cubicBezTo>
                    <a:pt x="1972" y="234"/>
                    <a:pt x="1972" y="234"/>
                    <a:pt x="1972" y="234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299" y="93"/>
                    <a:pt x="169" y="172"/>
                    <a:pt x="0" y="227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8378825" y="2689225"/>
              <a:ext cx="3908425" cy="1820863"/>
            </a:xfrm>
            <a:custGeom>
              <a:avLst/>
              <a:gdLst>
                <a:gd name="T0" fmla="*/ 50 w 1606"/>
                <a:gd name="T1" fmla="*/ 381 h 758"/>
                <a:gd name="T2" fmla="*/ 0 w 1606"/>
                <a:gd name="T3" fmla="*/ 524 h 758"/>
                <a:gd name="T4" fmla="*/ 1606 w 1606"/>
                <a:gd name="T5" fmla="*/ 758 h 758"/>
                <a:gd name="T6" fmla="*/ 1606 w 1606"/>
                <a:gd name="T7" fmla="*/ 0 h 758"/>
                <a:gd name="T8" fmla="*/ 4 w 1606"/>
                <a:gd name="T9" fmla="*/ 244 h 758"/>
                <a:gd name="T10" fmla="*/ 50 w 1606"/>
                <a:gd name="T11" fmla="*/ 38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6" h="758">
                  <a:moveTo>
                    <a:pt x="50" y="381"/>
                  </a:moveTo>
                  <a:cubicBezTo>
                    <a:pt x="50" y="431"/>
                    <a:pt x="32" y="479"/>
                    <a:pt x="0" y="524"/>
                  </a:cubicBezTo>
                  <a:cubicBezTo>
                    <a:pt x="1606" y="758"/>
                    <a:pt x="1606" y="758"/>
                    <a:pt x="1606" y="758"/>
                  </a:cubicBezTo>
                  <a:cubicBezTo>
                    <a:pt x="1606" y="0"/>
                    <a:pt x="1606" y="0"/>
                    <a:pt x="1606" y="0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34" y="287"/>
                    <a:pt x="50" y="333"/>
                    <a:pt x="50" y="38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-38100" y="2693988"/>
              <a:ext cx="3849688" cy="1792288"/>
            </a:xfrm>
            <a:custGeom>
              <a:avLst/>
              <a:gdLst>
                <a:gd name="T0" fmla="*/ 1536 w 1582"/>
                <a:gd name="T1" fmla="*/ 379 h 746"/>
                <a:gd name="T2" fmla="*/ 1582 w 1582"/>
                <a:gd name="T3" fmla="*/ 242 h 746"/>
                <a:gd name="T4" fmla="*/ 0 w 1582"/>
                <a:gd name="T5" fmla="*/ 0 h 746"/>
                <a:gd name="T6" fmla="*/ 0 w 1582"/>
                <a:gd name="T7" fmla="*/ 746 h 746"/>
                <a:gd name="T8" fmla="*/ 1582 w 1582"/>
                <a:gd name="T9" fmla="*/ 516 h 746"/>
                <a:gd name="T10" fmla="*/ 1536 w 1582"/>
                <a:gd name="T11" fmla="*/ 3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2" h="746">
                  <a:moveTo>
                    <a:pt x="1536" y="379"/>
                  </a:moveTo>
                  <a:cubicBezTo>
                    <a:pt x="1536" y="331"/>
                    <a:pt x="1552" y="285"/>
                    <a:pt x="1582" y="2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46"/>
                    <a:pt x="0" y="746"/>
                    <a:pt x="0" y="746"/>
                  </a:cubicBezTo>
                  <a:cubicBezTo>
                    <a:pt x="1582" y="516"/>
                    <a:pt x="1582" y="516"/>
                    <a:pt x="1582" y="516"/>
                  </a:cubicBezTo>
                  <a:cubicBezTo>
                    <a:pt x="1552" y="473"/>
                    <a:pt x="1536" y="427"/>
                    <a:pt x="1536" y="37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-38100" y="3175"/>
              <a:ext cx="4706938" cy="3271838"/>
            </a:xfrm>
            <a:custGeom>
              <a:avLst/>
              <a:gdLst>
                <a:gd name="T0" fmla="*/ 1934 w 1934"/>
                <a:gd name="T1" fmla="*/ 1135 h 1363"/>
                <a:gd name="T2" fmla="*/ 136 w 1934"/>
                <a:gd name="T3" fmla="*/ 0 h 1363"/>
                <a:gd name="T4" fmla="*/ 0 w 1934"/>
                <a:gd name="T5" fmla="*/ 0 h 1363"/>
                <a:gd name="T6" fmla="*/ 0 w 1934"/>
                <a:gd name="T7" fmla="*/ 1121 h 1363"/>
                <a:gd name="T8" fmla="*/ 1582 w 1934"/>
                <a:gd name="T9" fmla="*/ 1363 h 1363"/>
                <a:gd name="T10" fmla="*/ 1934 w 1934"/>
                <a:gd name="T11" fmla="*/ 1135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4" h="1363">
                  <a:moveTo>
                    <a:pt x="1934" y="1135"/>
                  </a:moveTo>
                  <a:cubicBezTo>
                    <a:pt x="136" y="0"/>
                    <a:pt x="136" y="0"/>
                    <a:pt x="1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1"/>
                    <a:pt x="0" y="1121"/>
                    <a:pt x="0" y="1121"/>
                  </a:cubicBezTo>
                  <a:cubicBezTo>
                    <a:pt x="1582" y="1363"/>
                    <a:pt x="1582" y="1363"/>
                    <a:pt x="1582" y="1363"/>
                  </a:cubicBezTo>
                  <a:cubicBezTo>
                    <a:pt x="1645" y="1271"/>
                    <a:pt x="1770" y="1192"/>
                    <a:pt x="1934" y="113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850900" y="4481513"/>
              <a:ext cx="5218113" cy="2379663"/>
            </a:xfrm>
            <a:custGeom>
              <a:avLst/>
              <a:gdLst>
                <a:gd name="T0" fmla="*/ 1570 w 2144"/>
                <a:gd name="T1" fmla="*/ 0 h 991"/>
                <a:gd name="T2" fmla="*/ 0 w 2144"/>
                <a:gd name="T3" fmla="*/ 991 h 991"/>
                <a:gd name="T4" fmla="*/ 2144 w 2144"/>
                <a:gd name="T5" fmla="*/ 991 h 991"/>
                <a:gd name="T6" fmla="*/ 2144 w 2144"/>
                <a:gd name="T7" fmla="*/ 89 h 991"/>
                <a:gd name="T8" fmla="*/ 1570 w 2144"/>
                <a:gd name="T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4" h="991">
                  <a:moveTo>
                    <a:pt x="1570" y="0"/>
                  </a:moveTo>
                  <a:cubicBezTo>
                    <a:pt x="0" y="991"/>
                    <a:pt x="0" y="991"/>
                    <a:pt x="0" y="991"/>
                  </a:cubicBezTo>
                  <a:cubicBezTo>
                    <a:pt x="2144" y="991"/>
                    <a:pt x="2144" y="991"/>
                    <a:pt x="2144" y="991"/>
                  </a:cubicBezTo>
                  <a:cubicBezTo>
                    <a:pt x="2144" y="89"/>
                    <a:pt x="2144" y="89"/>
                    <a:pt x="2144" y="89"/>
                  </a:cubicBezTo>
                  <a:cubicBezTo>
                    <a:pt x="1929" y="88"/>
                    <a:pt x="1731" y="55"/>
                    <a:pt x="1570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069013" y="4492625"/>
              <a:ext cx="5230813" cy="2368550"/>
            </a:xfrm>
            <a:custGeom>
              <a:avLst/>
              <a:gdLst>
                <a:gd name="T0" fmla="*/ 583 w 2149"/>
                <a:gd name="T1" fmla="*/ 0 h 986"/>
                <a:gd name="T2" fmla="*/ 13 w 2149"/>
                <a:gd name="T3" fmla="*/ 84 h 986"/>
                <a:gd name="T4" fmla="*/ 0 w 2149"/>
                <a:gd name="T5" fmla="*/ 84 h 986"/>
                <a:gd name="T6" fmla="*/ 0 w 2149"/>
                <a:gd name="T7" fmla="*/ 986 h 986"/>
                <a:gd name="T8" fmla="*/ 2149 w 2149"/>
                <a:gd name="T9" fmla="*/ 986 h 986"/>
                <a:gd name="T10" fmla="*/ 583 w 2149"/>
                <a:gd name="T11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9" h="986">
                  <a:moveTo>
                    <a:pt x="583" y="0"/>
                  </a:moveTo>
                  <a:cubicBezTo>
                    <a:pt x="422" y="53"/>
                    <a:pt x="226" y="84"/>
                    <a:pt x="13" y="84"/>
                  </a:cubicBezTo>
                  <a:cubicBezTo>
                    <a:pt x="9" y="84"/>
                    <a:pt x="4" y="84"/>
                    <a:pt x="0" y="84"/>
                  </a:cubicBezTo>
                  <a:cubicBezTo>
                    <a:pt x="0" y="986"/>
                    <a:pt x="0" y="986"/>
                    <a:pt x="0" y="986"/>
                  </a:cubicBezTo>
                  <a:cubicBezTo>
                    <a:pt x="2149" y="986"/>
                    <a:pt x="2149" y="986"/>
                    <a:pt x="2149" y="986"/>
                  </a:cubicBezTo>
                  <a:lnTo>
                    <a:pt x="58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-38100" y="3933825"/>
              <a:ext cx="4710113" cy="2927350"/>
            </a:xfrm>
            <a:custGeom>
              <a:avLst/>
              <a:gdLst>
                <a:gd name="T0" fmla="*/ 1582 w 1935"/>
                <a:gd name="T1" fmla="*/ 0 h 1219"/>
                <a:gd name="T2" fmla="*/ 0 w 1935"/>
                <a:gd name="T3" fmla="*/ 230 h 1219"/>
                <a:gd name="T4" fmla="*/ 0 w 1935"/>
                <a:gd name="T5" fmla="*/ 1219 h 1219"/>
                <a:gd name="T6" fmla="*/ 365 w 1935"/>
                <a:gd name="T7" fmla="*/ 1219 h 1219"/>
                <a:gd name="T8" fmla="*/ 1935 w 1935"/>
                <a:gd name="T9" fmla="*/ 228 h 1219"/>
                <a:gd name="T10" fmla="*/ 1582 w 1935"/>
                <a:gd name="T11" fmla="*/ 0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5" h="1219">
                  <a:moveTo>
                    <a:pt x="1582" y="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219"/>
                    <a:pt x="0" y="1219"/>
                    <a:pt x="0" y="1219"/>
                  </a:cubicBezTo>
                  <a:cubicBezTo>
                    <a:pt x="365" y="1219"/>
                    <a:pt x="365" y="1219"/>
                    <a:pt x="365" y="1219"/>
                  </a:cubicBezTo>
                  <a:cubicBezTo>
                    <a:pt x="1935" y="228"/>
                    <a:pt x="1935" y="228"/>
                    <a:pt x="1935" y="228"/>
                  </a:cubicBezTo>
                  <a:cubicBezTo>
                    <a:pt x="1771" y="172"/>
                    <a:pt x="1645" y="92"/>
                    <a:pt x="1582" y="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3515520" y="2430602"/>
              <a:ext cx="5168900" cy="2347634"/>
            </a:xfrm>
            <a:custGeom>
              <a:avLst/>
              <a:gdLst>
                <a:gd name="T0" fmla="*/ 1926 w 1972"/>
                <a:gd name="T1" fmla="*/ 317 h 908"/>
                <a:gd name="T2" fmla="*/ 1561 w 1972"/>
                <a:gd name="T3" fmla="*/ 85 h 908"/>
                <a:gd name="T4" fmla="*/ 986 w 1972"/>
                <a:gd name="T5" fmla="*/ 0 h 908"/>
                <a:gd name="T6" fmla="*/ 973 w 1972"/>
                <a:gd name="T7" fmla="*/ 0 h 908"/>
                <a:gd name="T8" fmla="*/ 398 w 1972"/>
                <a:gd name="T9" fmla="*/ 89 h 908"/>
                <a:gd name="T10" fmla="*/ 46 w 1972"/>
                <a:gd name="T11" fmla="*/ 317 h 908"/>
                <a:gd name="T12" fmla="*/ 0 w 1972"/>
                <a:gd name="T13" fmla="*/ 454 h 908"/>
                <a:gd name="T14" fmla="*/ 46 w 1972"/>
                <a:gd name="T15" fmla="*/ 591 h 908"/>
                <a:gd name="T16" fmla="*/ 399 w 1972"/>
                <a:gd name="T17" fmla="*/ 819 h 908"/>
                <a:gd name="T18" fmla="*/ 973 w 1972"/>
                <a:gd name="T19" fmla="*/ 908 h 908"/>
                <a:gd name="T20" fmla="*/ 986 w 1972"/>
                <a:gd name="T21" fmla="*/ 908 h 908"/>
                <a:gd name="T22" fmla="*/ 1556 w 1972"/>
                <a:gd name="T23" fmla="*/ 824 h 908"/>
                <a:gd name="T24" fmla="*/ 1922 w 1972"/>
                <a:gd name="T25" fmla="*/ 597 h 908"/>
                <a:gd name="T26" fmla="*/ 1972 w 1972"/>
                <a:gd name="T27" fmla="*/ 454 h 908"/>
                <a:gd name="T28" fmla="*/ 1926 w 1972"/>
                <a:gd name="T29" fmla="*/ 31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2" h="908">
                  <a:moveTo>
                    <a:pt x="1926" y="317"/>
                  </a:moveTo>
                  <a:cubicBezTo>
                    <a:pt x="1862" y="223"/>
                    <a:pt x="1732" y="142"/>
                    <a:pt x="1561" y="85"/>
                  </a:cubicBezTo>
                  <a:cubicBezTo>
                    <a:pt x="1399" y="32"/>
                    <a:pt x="1200" y="0"/>
                    <a:pt x="986" y="0"/>
                  </a:cubicBezTo>
                  <a:cubicBezTo>
                    <a:pt x="982" y="0"/>
                    <a:pt x="977" y="0"/>
                    <a:pt x="973" y="0"/>
                  </a:cubicBezTo>
                  <a:cubicBezTo>
                    <a:pt x="758" y="1"/>
                    <a:pt x="559" y="34"/>
                    <a:pt x="398" y="89"/>
                  </a:cubicBezTo>
                  <a:cubicBezTo>
                    <a:pt x="234" y="146"/>
                    <a:pt x="109" y="225"/>
                    <a:pt x="46" y="317"/>
                  </a:cubicBezTo>
                  <a:cubicBezTo>
                    <a:pt x="16" y="360"/>
                    <a:pt x="0" y="406"/>
                    <a:pt x="0" y="454"/>
                  </a:cubicBezTo>
                  <a:cubicBezTo>
                    <a:pt x="0" y="502"/>
                    <a:pt x="16" y="548"/>
                    <a:pt x="46" y="591"/>
                  </a:cubicBezTo>
                  <a:cubicBezTo>
                    <a:pt x="109" y="683"/>
                    <a:pt x="235" y="763"/>
                    <a:pt x="399" y="819"/>
                  </a:cubicBezTo>
                  <a:cubicBezTo>
                    <a:pt x="560" y="874"/>
                    <a:pt x="758" y="907"/>
                    <a:pt x="973" y="908"/>
                  </a:cubicBezTo>
                  <a:cubicBezTo>
                    <a:pt x="977" y="908"/>
                    <a:pt x="982" y="908"/>
                    <a:pt x="986" y="908"/>
                  </a:cubicBezTo>
                  <a:cubicBezTo>
                    <a:pt x="1199" y="908"/>
                    <a:pt x="1395" y="877"/>
                    <a:pt x="1556" y="824"/>
                  </a:cubicBezTo>
                  <a:cubicBezTo>
                    <a:pt x="1725" y="769"/>
                    <a:pt x="1855" y="690"/>
                    <a:pt x="1922" y="597"/>
                  </a:cubicBezTo>
                  <a:cubicBezTo>
                    <a:pt x="1954" y="552"/>
                    <a:pt x="1972" y="504"/>
                    <a:pt x="1972" y="454"/>
                  </a:cubicBezTo>
                  <a:cubicBezTo>
                    <a:pt x="1972" y="406"/>
                    <a:pt x="1956" y="360"/>
                    <a:pt x="1926" y="3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3790158" y="2555338"/>
              <a:ext cx="4619624" cy="2098162"/>
            </a:xfrm>
            <a:custGeom>
              <a:avLst/>
              <a:gdLst>
                <a:gd name="T0" fmla="*/ 1926 w 1972"/>
                <a:gd name="T1" fmla="*/ 317 h 908"/>
                <a:gd name="T2" fmla="*/ 1561 w 1972"/>
                <a:gd name="T3" fmla="*/ 85 h 908"/>
                <a:gd name="T4" fmla="*/ 986 w 1972"/>
                <a:gd name="T5" fmla="*/ 0 h 908"/>
                <a:gd name="T6" fmla="*/ 973 w 1972"/>
                <a:gd name="T7" fmla="*/ 0 h 908"/>
                <a:gd name="T8" fmla="*/ 398 w 1972"/>
                <a:gd name="T9" fmla="*/ 89 h 908"/>
                <a:gd name="T10" fmla="*/ 46 w 1972"/>
                <a:gd name="T11" fmla="*/ 317 h 908"/>
                <a:gd name="T12" fmla="*/ 0 w 1972"/>
                <a:gd name="T13" fmla="*/ 454 h 908"/>
                <a:gd name="T14" fmla="*/ 46 w 1972"/>
                <a:gd name="T15" fmla="*/ 591 h 908"/>
                <a:gd name="T16" fmla="*/ 399 w 1972"/>
                <a:gd name="T17" fmla="*/ 819 h 908"/>
                <a:gd name="T18" fmla="*/ 973 w 1972"/>
                <a:gd name="T19" fmla="*/ 908 h 908"/>
                <a:gd name="T20" fmla="*/ 986 w 1972"/>
                <a:gd name="T21" fmla="*/ 908 h 908"/>
                <a:gd name="T22" fmla="*/ 1556 w 1972"/>
                <a:gd name="T23" fmla="*/ 824 h 908"/>
                <a:gd name="T24" fmla="*/ 1922 w 1972"/>
                <a:gd name="T25" fmla="*/ 597 h 908"/>
                <a:gd name="T26" fmla="*/ 1972 w 1972"/>
                <a:gd name="T27" fmla="*/ 454 h 908"/>
                <a:gd name="T28" fmla="*/ 1926 w 1972"/>
                <a:gd name="T29" fmla="*/ 31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2" h="908">
                  <a:moveTo>
                    <a:pt x="1926" y="317"/>
                  </a:moveTo>
                  <a:cubicBezTo>
                    <a:pt x="1862" y="223"/>
                    <a:pt x="1732" y="142"/>
                    <a:pt x="1561" y="85"/>
                  </a:cubicBezTo>
                  <a:cubicBezTo>
                    <a:pt x="1399" y="32"/>
                    <a:pt x="1200" y="0"/>
                    <a:pt x="986" y="0"/>
                  </a:cubicBezTo>
                  <a:cubicBezTo>
                    <a:pt x="982" y="0"/>
                    <a:pt x="977" y="0"/>
                    <a:pt x="973" y="0"/>
                  </a:cubicBezTo>
                  <a:cubicBezTo>
                    <a:pt x="758" y="1"/>
                    <a:pt x="559" y="34"/>
                    <a:pt x="398" y="89"/>
                  </a:cubicBezTo>
                  <a:cubicBezTo>
                    <a:pt x="234" y="146"/>
                    <a:pt x="109" y="225"/>
                    <a:pt x="46" y="317"/>
                  </a:cubicBezTo>
                  <a:cubicBezTo>
                    <a:pt x="16" y="360"/>
                    <a:pt x="0" y="406"/>
                    <a:pt x="0" y="454"/>
                  </a:cubicBezTo>
                  <a:cubicBezTo>
                    <a:pt x="0" y="502"/>
                    <a:pt x="16" y="548"/>
                    <a:pt x="46" y="591"/>
                  </a:cubicBezTo>
                  <a:cubicBezTo>
                    <a:pt x="109" y="683"/>
                    <a:pt x="235" y="763"/>
                    <a:pt x="399" y="819"/>
                  </a:cubicBezTo>
                  <a:cubicBezTo>
                    <a:pt x="560" y="874"/>
                    <a:pt x="758" y="907"/>
                    <a:pt x="973" y="908"/>
                  </a:cubicBezTo>
                  <a:cubicBezTo>
                    <a:pt x="977" y="908"/>
                    <a:pt x="982" y="908"/>
                    <a:pt x="986" y="908"/>
                  </a:cubicBezTo>
                  <a:cubicBezTo>
                    <a:pt x="1199" y="908"/>
                    <a:pt x="1395" y="877"/>
                    <a:pt x="1556" y="824"/>
                  </a:cubicBezTo>
                  <a:cubicBezTo>
                    <a:pt x="1725" y="769"/>
                    <a:pt x="1855" y="690"/>
                    <a:pt x="1922" y="597"/>
                  </a:cubicBezTo>
                  <a:cubicBezTo>
                    <a:pt x="1954" y="552"/>
                    <a:pt x="1972" y="504"/>
                    <a:pt x="1972" y="454"/>
                  </a:cubicBezTo>
                  <a:cubicBezTo>
                    <a:pt x="1972" y="406"/>
                    <a:pt x="1956" y="360"/>
                    <a:pt x="1926" y="3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Gruppieren 24"/>
          <p:cNvGrpSpPr/>
          <p:nvPr userDrawn="1"/>
        </p:nvGrpSpPr>
        <p:grpSpPr>
          <a:xfrm>
            <a:off x="0" y="0"/>
            <a:ext cx="9199968" cy="5145882"/>
            <a:chOff x="-38100" y="0"/>
            <a:chExt cx="12325351" cy="6861176"/>
          </a:xfrm>
        </p:grpSpPr>
        <p:sp>
          <p:nvSpPr>
            <p:cNvPr id="26" name="AutoShape 4"/>
            <p:cNvSpPr>
              <a:spLocks noChangeAspect="1" noChangeArrowheads="1" noTextEdit="1"/>
            </p:cNvSpPr>
            <p:nvPr/>
          </p:nvSpPr>
          <p:spPr bwMode="auto">
            <a:xfrm>
              <a:off x="-38100" y="0"/>
              <a:ext cx="1232535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6069013" y="3175"/>
              <a:ext cx="5792788" cy="2714625"/>
            </a:xfrm>
            <a:custGeom>
              <a:avLst/>
              <a:gdLst>
                <a:gd name="T0" fmla="*/ 13 w 2380"/>
                <a:gd name="T1" fmla="*/ 1046 h 1131"/>
                <a:gd name="T2" fmla="*/ 588 w 2380"/>
                <a:gd name="T3" fmla="*/ 1131 h 1131"/>
                <a:gd name="T4" fmla="*/ 2380 w 2380"/>
                <a:gd name="T5" fmla="*/ 0 h 1131"/>
                <a:gd name="T6" fmla="*/ 0 w 2380"/>
                <a:gd name="T7" fmla="*/ 0 h 1131"/>
                <a:gd name="T8" fmla="*/ 0 w 2380"/>
                <a:gd name="T9" fmla="*/ 1046 h 1131"/>
                <a:gd name="T10" fmla="*/ 13 w 2380"/>
                <a:gd name="T11" fmla="*/ 1046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0" h="1131">
                  <a:moveTo>
                    <a:pt x="13" y="1046"/>
                  </a:moveTo>
                  <a:cubicBezTo>
                    <a:pt x="227" y="1046"/>
                    <a:pt x="426" y="1078"/>
                    <a:pt x="588" y="1131"/>
                  </a:cubicBezTo>
                  <a:cubicBezTo>
                    <a:pt x="2380" y="0"/>
                    <a:pt x="2380" y="0"/>
                    <a:pt x="238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46"/>
                    <a:pt x="0" y="1046"/>
                    <a:pt x="0" y="1046"/>
                  </a:cubicBezTo>
                  <a:cubicBezTo>
                    <a:pt x="4" y="1046"/>
                    <a:pt x="9" y="1046"/>
                    <a:pt x="13" y="10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293688" y="3175"/>
              <a:ext cx="5775325" cy="2724150"/>
            </a:xfrm>
            <a:custGeom>
              <a:avLst/>
              <a:gdLst>
                <a:gd name="T0" fmla="*/ 2373 w 2373"/>
                <a:gd name="T1" fmla="*/ 1046 h 1135"/>
                <a:gd name="T2" fmla="*/ 2373 w 2373"/>
                <a:gd name="T3" fmla="*/ 0 h 1135"/>
                <a:gd name="T4" fmla="*/ 0 w 2373"/>
                <a:gd name="T5" fmla="*/ 0 h 1135"/>
                <a:gd name="T6" fmla="*/ 1798 w 2373"/>
                <a:gd name="T7" fmla="*/ 1135 h 1135"/>
                <a:gd name="T8" fmla="*/ 2373 w 2373"/>
                <a:gd name="T9" fmla="*/ 1046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3" h="1135">
                  <a:moveTo>
                    <a:pt x="2373" y="1046"/>
                  </a:moveTo>
                  <a:cubicBezTo>
                    <a:pt x="2373" y="0"/>
                    <a:pt x="2373" y="0"/>
                    <a:pt x="23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98" y="1135"/>
                    <a:pt x="1798" y="1135"/>
                    <a:pt x="1798" y="1135"/>
                  </a:cubicBezTo>
                  <a:cubicBezTo>
                    <a:pt x="1959" y="1080"/>
                    <a:pt x="2158" y="1047"/>
                    <a:pt x="2373" y="10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7499350" y="3175"/>
              <a:ext cx="4787900" cy="3271838"/>
            </a:xfrm>
            <a:custGeom>
              <a:avLst/>
              <a:gdLst>
                <a:gd name="T0" fmla="*/ 365 w 1967"/>
                <a:gd name="T1" fmla="*/ 1363 h 1363"/>
                <a:gd name="T2" fmla="*/ 1967 w 1967"/>
                <a:gd name="T3" fmla="*/ 1119 h 1363"/>
                <a:gd name="T4" fmla="*/ 1967 w 1967"/>
                <a:gd name="T5" fmla="*/ 0 h 1363"/>
                <a:gd name="T6" fmla="*/ 1792 w 1967"/>
                <a:gd name="T7" fmla="*/ 0 h 1363"/>
                <a:gd name="T8" fmla="*/ 0 w 1967"/>
                <a:gd name="T9" fmla="*/ 1131 h 1363"/>
                <a:gd name="T10" fmla="*/ 365 w 1967"/>
                <a:gd name="T11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7" h="1363">
                  <a:moveTo>
                    <a:pt x="365" y="1363"/>
                  </a:moveTo>
                  <a:cubicBezTo>
                    <a:pt x="1967" y="1119"/>
                    <a:pt x="1967" y="1119"/>
                    <a:pt x="1967" y="1119"/>
                  </a:cubicBezTo>
                  <a:cubicBezTo>
                    <a:pt x="1967" y="0"/>
                    <a:pt x="1967" y="0"/>
                    <a:pt x="1967" y="0"/>
                  </a:cubicBezTo>
                  <a:cubicBezTo>
                    <a:pt x="1792" y="0"/>
                    <a:pt x="1792" y="0"/>
                    <a:pt x="1792" y="0"/>
                  </a:cubicBezTo>
                  <a:cubicBezTo>
                    <a:pt x="0" y="1131"/>
                    <a:pt x="0" y="1131"/>
                    <a:pt x="0" y="1131"/>
                  </a:cubicBezTo>
                  <a:cubicBezTo>
                    <a:pt x="171" y="1188"/>
                    <a:pt x="301" y="1269"/>
                    <a:pt x="365" y="136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7488238" y="3948113"/>
              <a:ext cx="4799013" cy="2913063"/>
            </a:xfrm>
            <a:custGeom>
              <a:avLst/>
              <a:gdLst>
                <a:gd name="T0" fmla="*/ 0 w 1972"/>
                <a:gd name="T1" fmla="*/ 227 h 1213"/>
                <a:gd name="T2" fmla="*/ 1566 w 1972"/>
                <a:gd name="T3" fmla="*/ 1213 h 1213"/>
                <a:gd name="T4" fmla="*/ 1972 w 1972"/>
                <a:gd name="T5" fmla="*/ 1213 h 1213"/>
                <a:gd name="T6" fmla="*/ 1972 w 1972"/>
                <a:gd name="T7" fmla="*/ 234 h 1213"/>
                <a:gd name="T8" fmla="*/ 366 w 1972"/>
                <a:gd name="T9" fmla="*/ 0 h 1213"/>
                <a:gd name="T10" fmla="*/ 0 w 1972"/>
                <a:gd name="T11" fmla="*/ 227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1213">
                  <a:moveTo>
                    <a:pt x="0" y="227"/>
                  </a:moveTo>
                  <a:cubicBezTo>
                    <a:pt x="1566" y="1213"/>
                    <a:pt x="1566" y="1213"/>
                    <a:pt x="1566" y="1213"/>
                  </a:cubicBezTo>
                  <a:cubicBezTo>
                    <a:pt x="1972" y="1213"/>
                    <a:pt x="1972" y="1213"/>
                    <a:pt x="1972" y="1213"/>
                  </a:cubicBezTo>
                  <a:cubicBezTo>
                    <a:pt x="1972" y="234"/>
                    <a:pt x="1972" y="234"/>
                    <a:pt x="1972" y="234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299" y="93"/>
                    <a:pt x="169" y="172"/>
                    <a:pt x="0" y="227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8378825" y="2689225"/>
              <a:ext cx="3908425" cy="1820863"/>
            </a:xfrm>
            <a:custGeom>
              <a:avLst/>
              <a:gdLst>
                <a:gd name="T0" fmla="*/ 50 w 1606"/>
                <a:gd name="T1" fmla="*/ 381 h 758"/>
                <a:gd name="T2" fmla="*/ 0 w 1606"/>
                <a:gd name="T3" fmla="*/ 524 h 758"/>
                <a:gd name="T4" fmla="*/ 1606 w 1606"/>
                <a:gd name="T5" fmla="*/ 758 h 758"/>
                <a:gd name="T6" fmla="*/ 1606 w 1606"/>
                <a:gd name="T7" fmla="*/ 0 h 758"/>
                <a:gd name="T8" fmla="*/ 4 w 1606"/>
                <a:gd name="T9" fmla="*/ 244 h 758"/>
                <a:gd name="T10" fmla="*/ 50 w 1606"/>
                <a:gd name="T11" fmla="*/ 38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6" h="758">
                  <a:moveTo>
                    <a:pt x="50" y="381"/>
                  </a:moveTo>
                  <a:cubicBezTo>
                    <a:pt x="50" y="431"/>
                    <a:pt x="32" y="479"/>
                    <a:pt x="0" y="524"/>
                  </a:cubicBezTo>
                  <a:cubicBezTo>
                    <a:pt x="1606" y="758"/>
                    <a:pt x="1606" y="758"/>
                    <a:pt x="1606" y="758"/>
                  </a:cubicBezTo>
                  <a:cubicBezTo>
                    <a:pt x="1606" y="0"/>
                    <a:pt x="1606" y="0"/>
                    <a:pt x="1606" y="0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34" y="287"/>
                    <a:pt x="50" y="333"/>
                    <a:pt x="50" y="38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auto">
            <a:xfrm>
              <a:off x="-38100" y="2693988"/>
              <a:ext cx="3849688" cy="1792288"/>
            </a:xfrm>
            <a:custGeom>
              <a:avLst/>
              <a:gdLst>
                <a:gd name="T0" fmla="*/ 1536 w 1582"/>
                <a:gd name="T1" fmla="*/ 379 h 746"/>
                <a:gd name="T2" fmla="*/ 1582 w 1582"/>
                <a:gd name="T3" fmla="*/ 242 h 746"/>
                <a:gd name="T4" fmla="*/ 0 w 1582"/>
                <a:gd name="T5" fmla="*/ 0 h 746"/>
                <a:gd name="T6" fmla="*/ 0 w 1582"/>
                <a:gd name="T7" fmla="*/ 746 h 746"/>
                <a:gd name="T8" fmla="*/ 1582 w 1582"/>
                <a:gd name="T9" fmla="*/ 516 h 746"/>
                <a:gd name="T10" fmla="*/ 1536 w 1582"/>
                <a:gd name="T11" fmla="*/ 3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2" h="746">
                  <a:moveTo>
                    <a:pt x="1536" y="379"/>
                  </a:moveTo>
                  <a:cubicBezTo>
                    <a:pt x="1536" y="331"/>
                    <a:pt x="1552" y="285"/>
                    <a:pt x="1582" y="2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46"/>
                    <a:pt x="0" y="746"/>
                    <a:pt x="0" y="746"/>
                  </a:cubicBezTo>
                  <a:cubicBezTo>
                    <a:pt x="1582" y="516"/>
                    <a:pt x="1582" y="516"/>
                    <a:pt x="1582" y="516"/>
                  </a:cubicBezTo>
                  <a:cubicBezTo>
                    <a:pt x="1552" y="473"/>
                    <a:pt x="1536" y="427"/>
                    <a:pt x="1536" y="37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-38100" y="3175"/>
              <a:ext cx="4706938" cy="3271838"/>
            </a:xfrm>
            <a:custGeom>
              <a:avLst/>
              <a:gdLst>
                <a:gd name="T0" fmla="*/ 1934 w 1934"/>
                <a:gd name="T1" fmla="*/ 1135 h 1363"/>
                <a:gd name="T2" fmla="*/ 136 w 1934"/>
                <a:gd name="T3" fmla="*/ 0 h 1363"/>
                <a:gd name="T4" fmla="*/ 0 w 1934"/>
                <a:gd name="T5" fmla="*/ 0 h 1363"/>
                <a:gd name="T6" fmla="*/ 0 w 1934"/>
                <a:gd name="T7" fmla="*/ 1121 h 1363"/>
                <a:gd name="T8" fmla="*/ 1582 w 1934"/>
                <a:gd name="T9" fmla="*/ 1363 h 1363"/>
                <a:gd name="T10" fmla="*/ 1934 w 1934"/>
                <a:gd name="T11" fmla="*/ 1135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4" h="1363">
                  <a:moveTo>
                    <a:pt x="1934" y="1135"/>
                  </a:moveTo>
                  <a:cubicBezTo>
                    <a:pt x="136" y="0"/>
                    <a:pt x="136" y="0"/>
                    <a:pt x="1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1"/>
                    <a:pt x="0" y="1121"/>
                    <a:pt x="0" y="1121"/>
                  </a:cubicBezTo>
                  <a:cubicBezTo>
                    <a:pt x="1582" y="1363"/>
                    <a:pt x="1582" y="1363"/>
                    <a:pt x="1582" y="1363"/>
                  </a:cubicBezTo>
                  <a:cubicBezTo>
                    <a:pt x="1645" y="1271"/>
                    <a:pt x="1770" y="1192"/>
                    <a:pt x="1934" y="113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>
              <a:off x="850900" y="4481513"/>
              <a:ext cx="5218113" cy="2379663"/>
            </a:xfrm>
            <a:custGeom>
              <a:avLst/>
              <a:gdLst>
                <a:gd name="T0" fmla="*/ 1570 w 2144"/>
                <a:gd name="T1" fmla="*/ 0 h 991"/>
                <a:gd name="T2" fmla="*/ 0 w 2144"/>
                <a:gd name="T3" fmla="*/ 991 h 991"/>
                <a:gd name="T4" fmla="*/ 2144 w 2144"/>
                <a:gd name="T5" fmla="*/ 991 h 991"/>
                <a:gd name="T6" fmla="*/ 2144 w 2144"/>
                <a:gd name="T7" fmla="*/ 89 h 991"/>
                <a:gd name="T8" fmla="*/ 1570 w 2144"/>
                <a:gd name="T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4" h="991">
                  <a:moveTo>
                    <a:pt x="1570" y="0"/>
                  </a:moveTo>
                  <a:cubicBezTo>
                    <a:pt x="0" y="991"/>
                    <a:pt x="0" y="991"/>
                    <a:pt x="0" y="991"/>
                  </a:cubicBezTo>
                  <a:cubicBezTo>
                    <a:pt x="2144" y="991"/>
                    <a:pt x="2144" y="991"/>
                    <a:pt x="2144" y="991"/>
                  </a:cubicBezTo>
                  <a:cubicBezTo>
                    <a:pt x="2144" y="89"/>
                    <a:pt x="2144" y="89"/>
                    <a:pt x="2144" y="89"/>
                  </a:cubicBezTo>
                  <a:cubicBezTo>
                    <a:pt x="1929" y="88"/>
                    <a:pt x="1731" y="55"/>
                    <a:pt x="1570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6069013" y="4492625"/>
              <a:ext cx="5230813" cy="2368550"/>
            </a:xfrm>
            <a:custGeom>
              <a:avLst/>
              <a:gdLst>
                <a:gd name="T0" fmla="*/ 583 w 2149"/>
                <a:gd name="T1" fmla="*/ 0 h 986"/>
                <a:gd name="T2" fmla="*/ 13 w 2149"/>
                <a:gd name="T3" fmla="*/ 84 h 986"/>
                <a:gd name="T4" fmla="*/ 0 w 2149"/>
                <a:gd name="T5" fmla="*/ 84 h 986"/>
                <a:gd name="T6" fmla="*/ 0 w 2149"/>
                <a:gd name="T7" fmla="*/ 986 h 986"/>
                <a:gd name="T8" fmla="*/ 2149 w 2149"/>
                <a:gd name="T9" fmla="*/ 986 h 986"/>
                <a:gd name="T10" fmla="*/ 583 w 2149"/>
                <a:gd name="T11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9" h="986">
                  <a:moveTo>
                    <a:pt x="583" y="0"/>
                  </a:moveTo>
                  <a:cubicBezTo>
                    <a:pt x="422" y="53"/>
                    <a:pt x="226" y="84"/>
                    <a:pt x="13" y="84"/>
                  </a:cubicBezTo>
                  <a:cubicBezTo>
                    <a:pt x="9" y="84"/>
                    <a:pt x="4" y="84"/>
                    <a:pt x="0" y="84"/>
                  </a:cubicBezTo>
                  <a:cubicBezTo>
                    <a:pt x="0" y="986"/>
                    <a:pt x="0" y="986"/>
                    <a:pt x="0" y="986"/>
                  </a:cubicBezTo>
                  <a:cubicBezTo>
                    <a:pt x="2149" y="986"/>
                    <a:pt x="2149" y="986"/>
                    <a:pt x="2149" y="986"/>
                  </a:cubicBezTo>
                  <a:lnTo>
                    <a:pt x="58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-38100" y="3933825"/>
              <a:ext cx="4710113" cy="2927350"/>
            </a:xfrm>
            <a:custGeom>
              <a:avLst/>
              <a:gdLst>
                <a:gd name="T0" fmla="*/ 1582 w 1935"/>
                <a:gd name="T1" fmla="*/ 0 h 1219"/>
                <a:gd name="T2" fmla="*/ 0 w 1935"/>
                <a:gd name="T3" fmla="*/ 230 h 1219"/>
                <a:gd name="T4" fmla="*/ 0 w 1935"/>
                <a:gd name="T5" fmla="*/ 1219 h 1219"/>
                <a:gd name="T6" fmla="*/ 365 w 1935"/>
                <a:gd name="T7" fmla="*/ 1219 h 1219"/>
                <a:gd name="T8" fmla="*/ 1935 w 1935"/>
                <a:gd name="T9" fmla="*/ 228 h 1219"/>
                <a:gd name="T10" fmla="*/ 1582 w 1935"/>
                <a:gd name="T11" fmla="*/ 0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5" h="1219">
                  <a:moveTo>
                    <a:pt x="1582" y="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219"/>
                    <a:pt x="0" y="1219"/>
                    <a:pt x="0" y="1219"/>
                  </a:cubicBezTo>
                  <a:cubicBezTo>
                    <a:pt x="365" y="1219"/>
                    <a:pt x="365" y="1219"/>
                    <a:pt x="365" y="1219"/>
                  </a:cubicBezTo>
                  <a:cubicBezTo>
                    <a:pt x="1935" y="228"/>
                    <a:pt x="1935" y="228"/>
                    <a:pt x="1935" y="228"/>
                  </a:cubicBezTo>
                  <a:cubicBezTo>
                    <a:pt x="1771" y="172"/>
                    <a:pt x="1645" y="92"/>
                    <a:pt x="1582" y="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3515520" y="2430602"/>
              <a:ext cx="5168900" cy="2347634"/>
            </a:xfrm>
            <a:custGeom>
              <a:avLst/>
              <a:gdLst>
                <a:gd name="T0" fmla="*/ 1926 w 1972"/>
                <a:gd name="T1" fmla="*/ 317 h 908"/>
                <a:gd name="T2" fmla="*/ 1561 w 1972"/>
                <a:gd name="T3" fmla="*/ 85 h 908"/>
                <a:gd name="T4" fmla="*/ 986 w 1972"/>
                <a:gd name="T5" fmla="*/ 0 h 908"/>
                <a:gd name="T6" fmla="*/ 973 w 1972"/>
                <a:gd name="T7" fmla="*/ 0 h 908"/>
                <a:gd name="T8" fmla="*/ 398 w 1972"/>
                <a:gd name="T9" fmla="*/ 89 h 908"/>
                <a:gd name="T10" fmla="*/ 46 w 1972"/>
                <a:gd name="T11" fmla="*/ 317 h 908"/>
                <a:gd name="T12" fmla="*/ 0 w 1972"/>
                <a:gd name="T13" fmla="*/ 454 h 908"/>
                <a:gd name="T14" fmla="*/ 46 w 1972"/>
                <a:gd name="T15" fmla="*/ 591 h 908"/>
                <a:gd name="T16" fmla="*/ 399 w 1972"/>
                <a:gd name="T17" fmla="*/ 819 h 908"/>
                <a:gd name="T18" fmla="*/ 973 w 1972"/>
                <a:gd name="T19" fmla="*/ 908 h 908"/>
                <a:gd name="T20" fmla="*/ 986 w 1972"/>
                <a:gd name="T21" fmla="*/ 908 h 908"/>
                <a:gd name="T22" fmla="*/ 1556 w 1972"/>
                <a:gd name="T23" fmla="*/ 824 h 908"/>
                <a:gd name="T24" fmla="*/ 1922 w 1972"/>
                <a:gd name="T25" fmla="*/ 597 h 908"/>
                <a:gd name="T26" fmla="*/ 1972 w 1972"/>
                <a:gd name="T27" fmla="*/ 454 h 908"/>
                <a:gd name="T28" fmla="*/ 1926 w 1972"/>
                <a:gd name="T29" fmla="*/ 31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2" h="908">
                  <a:moveTo>
                    <a:pt x="1926" y="317"/>
                  </a:moveTo>
                  <a:cubicBezTo>
                    <a:pt x="1862" y="223"/>
                    <a:pt x="1732" y="142"/>
                    <a:pt x="1561" y="85"/>
                  </a:cubicBezTo>
                  <a:cubicBezTo>
                    <a:pt x="1399" y="32"/>
                    <a:pt x="1200" y="0"/>
                    <a:pt x="986" y="0"/>
                  </a:cubicBezTo>
                  <a:cubicBezTo>
                    <a:pt x="982" y="0"/>
                    <a:pt x="977" y="0"/>
                    <a:pt x="973" y="0"/>
                  </a:cubicBezTo>
                  <a:cubicBezTo>
                    <a:pt x="758" y="1"/>
                    <a:pt x="559" y="34"/>
                    <a:pt x="398" y="89"/>
                  </a:cubicBezTo>
                  <a:cubicBezTo>
                    <a:pt x="234" y="146"/>
                    <a:pt x="109" y="225"/>
                    <a:pt x="46" y="317"/>
                  </a:cubicBezTo>
                  <a:cubicBezTo>
                    <a:pt x="16" y="360"/>
                    <a:pt x="0" y="406"/>
                    <a:pt x="0" y="454"/>
                  </a:cubicBezTo>
                  <a:cubicBezTo>
                    <a:pt x="0" y="502"/>
                    <a:pt x="16" y="548"/>
                    <a:pt x="46" y="591"/>
                  </a:cubicBezTo>
                  <a:cubicBezTo>
                    <a:pt x="109" y="683"/>
                    <a:pt x="235" y="763"/>
                    <a:pt x="399" y="819"/>
                  </a:cubicBezTo>
                  <a:cubicBezTo>
                    <a:pt x="560" y="874"/>
                    <a:pt x="758" y="907"/>
                    <a:pt x="973" y="908"/>
                  </a:cubicBezTo>
                  <a:cubicBezTo>
                    <a:pt x="977" y="908"/>
                    <a:pt x="982" y="908"/>
                    <a:pt x="986" y="908"/>
                  </a:cubicBezTo>
                  <a:cubicBezTo>
                    <a:pt x="1199" y="908"/>
                    <a:pt x="1395" y="877"/>
                    <a:pt x="1556" y="824"/>
                  </a:cubicBezTo>
                  <a:cubicBezTo>
                    <a:pt x="1725" y="769"/>
                    <a:pt x="1855" y="690"/>
                    <a:pt x="1922" y="597"/>
                  </a:cubicBezTo>
                  <a:cubicBezTo>
                    <a:pt x="1954" y="552"/>
                    <a:pt x="1972" y="504"/>
                    <a:pt x="1972" y="454"/>
                  </a:cubicBezTo>
                  <a:cubicBezTo>
                    <a:pt x="1972" y="406"/>
                    <a:pt x="1956" y="360"/>
                    <a:pt x="1926" y="3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auto">
            <a:xfrm>
              <a:off x="3790158" y="2555338"/>
              <a:ext cx="4619624" cy="2098162"/>
            </a:xfrm>
            <a:custGeom>
              <a:avLst/>
              <a:gdLst>
                <a:gd name="T0" fmla="*/ 1926 w 1972"/>
                <a:gd name="T1" fmla="*/ 317 h 908"/>
                <a:gd name="T2" fmla="*/ 1561 w 1972"/>
                <a:gd name="T3" fmla="*/ 85 h 908"/>
                <a:gd name="T4" fmla="*/ 986 w 1972"/>
                <a:gd name="T5" fmla="*/ 0 h 908"/>
                <a:gd name="T6" fmla="*/ 973 w 1972"/>
                <a:gd name="T7" fmla="*/ 0 h 908"/>
                <a:gd name="T8" fmla="*/ 398 w 1972"/>
                <a:gd name="T9" fmla="*/ 89 h 908"/>
                <a:gd name="T10" fmla="*/ 46 w 1972"/>
                <a:gd name="T11" fmla="*/ 317 h 908"/>
                <a:gd name="T12" fmla="*/ 0 w 1972"/>
                <a:gd name="T13" fmla="*/ 454 h 908"/>
                <a:gd name="T14" fmla="*/ 46 w 1972"/>
                <a:gd name="T15" fmla="*/ 591 h 908"/>
                <a:gd name="T16" fmla="*/ 399 w 1972"/>
                <a:gd name="T17" fmla="*/ 819 h 908"/>
                <a:gd name="T18" fmla="*/ 973 w 1972"/>
                <a:gd name="T19" fmla="*/ 908 h 908"/>
                <a:gd name="T20" fmla="*/ 986 w 1972"/>
                <a:gd name="T21" fmla="*/ 908 h 908"/>
                <a:gd name="T22" fmla="*/ 1556 w 1972"/>
                <a:gd name="T23" fmla="*/ 824 h 908"/>
                <a:gd name="T24" fmla="*/ 1922 w 1972"/>
                <a:gd name="T25" fmla="*/ 597 h 908"/>
                <a:gd name="T26" fmla="*/ 1972 w 1972"/>
                <a:gd name="T27" fmla="*/ 454 h 908"/>
                <a:gd name="T28" fmla="*/ 1926 w 1972"/>
                <a:gd name="T29" fmla="*/ 31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2" h="908">
                  <a:moveTo>
                    <a:pt x="1926" y="317"/>
                  </a:moveTo>
                  <a:cubicBezTo>
                    <a:pt x="1862" y="223"/>
                    <a:pt x="1732" y="142"/>
                    <a:pt x="1561" y="85"/>
                  </a:cubicBezTo>
                  <a:cubicBezTo>
                    <a:pt x="1399" y="32"/>
                    <a:pt x="1200" y="0"/>
                    <a:pt x="986" y="0"/>
                  </a:cubicBezTo>
                  <a:cubicBezTo>
                    <a:pt x="982" y="0"/>
                    <a:pt x="977" y="0"/>
                    <a:pt x="973" y="0"/>
                  </a:cubicBezTo>
                  <a:cubicBezTo>
                    <a:pt x="758" y="1"/>
                    <a:pt x="559" y="34"/>
                    <a:pt x="398" y="89"/>
                  </a:cubicBezTo>
                  <a:cubicBezTo>
                    <a:pt x="234" y="146"/>
                    <a:pt x="109" y="225"/>
                    <a:pt x="46" y="317"/>
                  </a:cubicBezTo>
                  <a:cubicBezTo>
                    <a:pt x="16" y="360"/>
                    <a:pt x="0" y="406"/>
                    <a:pt x="0" y="454"/>
                  </a:cubicBezTo>
                  <a:cubicBezTo>
                    <a:pt x="0" y="502"/>
                    <a:pt x="16" y="548"/>
                    <a:pt x="46" y="591"/>
                  </a:cubicBezTo>
                  <a:cubicBezTo>
                    <a:pt x="109" y="683"/>
                    <a:pt x="235" y="763"/>
                    <a:pt x="399" y="819"/>
                  </a:cubicBezTo>
                  <a:cubicBezTo>
                    <a:pt x="560" y="874"/>
                    <a:pt x="758" y="907"/>
                    <a:pt x="973" y="908"/>
                  </a:cubicBezTo>
                  <a:cubicBezTo>
                    <a:pt x="977" y="908"/>
                    <a:pt x="982" y="908"/>
                    <a:pt x="986" y="908"/>
                  </a:cubicBezTo>
                  <a:cubicBezTo>
                    <a:pt x="1199" y="908"/>
                    <a:pt x="1395" y="877"/>
                    <a:pt x="1556" y="824"/>
                  </a:cubicBezTo>
                  <a:cubicBezTo>
                    <a:pt x="1725" y="769"/>
                    <a:pt x="1855" y="690"/>
                    <a:pt x="1922" y="597"/>
                  </a:cubicBezTo>
                  <a:cubicBezTo>
                    <a:pt x="1954" y="552"/>
                    <a:pt x="1972" y="504"/>
                    <a:pt x="1972" y="454"/>
                  </a:cubicBezTo>
                  <a:cubicBezTo>
                    <a:pt x="1972" y="406"/>
                    <a:pt x="1956" y="360"/>
                    <a:pt x="1926" y="3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0030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uppieren 50"/>
          <p:cNvGrpSpPr/>
          <p:nvPr userDrawn="1"/>
        </p:nvGrpSpPr>
        <p:grpSpPr>
          <a:xfrm>
            <a:off x="-6040" y="0"/>
            <a:ext cx="9156079" cy="5143500"/>
            <a:chOff x="-1589" y="3175"/>
            <a:chExt cx="12192002" cy="6854826"/>
          </a:xfrm>
        </p:grpSpPr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3033712" y="3175"/>
              <a:ext cx="3067837" cy="2647950"/>
            </a:xfrm>
            <a:custGeom>
              <a:avLst/>
              <a:gdLst>
                <a:gd name="T0" fmla="*/ 1919 w 1919"/>
                <a:gd name="T1" fmla="*/ 1668 h 1668"/>
                <a:gd name="T2" fmla="*/ 1898 w 1919"/>
                <a:gd name="T3" fmla="*/ 0 h 1668"/>
                <a:gd name="T4" fmla="*/ 0 w 1919"/>
                <a:gd name="T5" fmla="*/ 0 h 1668"/>
                <a:gd name="T6" fmla="*/ 1471 w 1919"/>
                <a:gd name="T7" fmla="*/ 1668 h 1668"/>
                <a:gd name="T8" fmla="*/ 1919 w 1919"/>
                <a:gd name="T9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9" h="1668">
                  <a:moveTo>
                    <a:pt x="1919" y="1668"/>
                  </a:moveTo>
                  <a:lnTo>
                    <a:pt x="1898" y="0"/>
                  </a:lnTo>
                  <a:lnTo>
                    <a:pt x="0" y="0"/>
                  </a:lnTo>
                  <a:lnTo>
                    <a:pt x="1471" y="1668"/>
                  </a:lnTo>
                  <a:lnTo>
                    <a:pt x="1919" y="16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7324725" y="3535363"/>
              <a:ext cx="4865688" cy="1673225"/>
            </a:xfrm>
            <a:custGeom>
              <a:avLst/>
              <a:gdLst>
                <a:gd name="T0" fmla="*/ 173 w 3065"/>
                <a:gd name="T1" fmla="*/ 0 h 1054"/>
                <a:gd name="T2" fmla="*/ 0 w 3065"/>
                <a:gd name="T3" fmla="*/ 166 h 1054"/>
                <a:gd name="T4" fmla="*/ 3065 w 3065"/>
                <a:gd name="T5" fmla="*/ 1054 h 1054"/>
                <a:gd name="T6" fmla="*/ 3065 w 3065"/>
                <a:gd name="T7" fmla="*/ 163 h 1054"/>
                <a:gd name="T8" fmla="*/ 173 w 3065"/>
                <a:gd name="T9" fmla="*/ 0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5" h="1054">
                  <a:moveTo>
                    <a:pt x="173" y="0"/>
                  </a:moveTo>
                  <a:lnTo>
                    <a:pt x="0" y="166"/>
                  </a:lnTo>
                  <a:lnTo>
                    <a:pt x="3065" y="1054"/>
                  </a:lnTo>
                  <a:lnTo>
                    <a:pt x="3065" y="163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6046788" y="3175"/>
              <a:ext cx="3082925" cy="2647950"/>
            </a:xfrm>
            <a:custGeom>
              <a:avLst/>
              <a:gdLst>
                <a:gd name="T0" fmla="*/ 471 w 1942"/>
                <a:gd name="T1" fmla="*/ 1668 h 1668"/>
                <a:gd name="T2" fmla="*/ 1942 w 1942"/>
                <a:gd name="T3" fmla="*/ 0 h 1668"/>
                <a:gd name="T4" fmla="*/ 0 w 1942"/>
                <a:gd name="T5" fmla="*/ 0 h 1668"/>
                <a:gd name="T6" fmla="*/ 21 w 1942"/>
                <a:gd name="T7" fmla="*/ 1668 h 1668"/>
                <a:gd name="T8" fmla="*/ 471 w 1942"/>
                <a:gd name="T9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2" h="1668">
                  <a:moveTo>
                    <a:pt x="471" y="1668"/>
                  </a:moveTo>
                  <a:lnTo>
                    <a:pt x="1942" y="0"/>
                  </a:lnTo>
                  <a:lnTo>
                    <a:pt x="0" y="0"/>
                  </a:lnTo>
                  <a:lnTo>
                    <a:pt x="21" y="1668"/>
                  </a:lnTo>
                  <a:lnTo>
                    <a:pt x="471" y="1668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10"/>
            <p:cNvSpPr>
              <a:spLocks/>
            </p:cNvSpPr>
            <p:nvPr userDrawn="1"/>
          </p:nvSpPr>
          <p:spPr bwMode="auto">
            <a:xfrm>
              <a:off x="-1588" y="3175"/>
              <a:ext cx="5370513" cy="2941638"/>
            </a:xfrm>
            <a:custGeom>
              <a:avLst/>
              <a:gdLst>
                <a:gd name="T0" fmla="*/ 3333 w 3383"/>
                <a:gd name="T1" fmla="*/ 1668 h 1853"/>
                <a:gd name="T2" fmla="*/ 3383 w 3383"/>
                <a:gd name="T3" fmla="*/ 1668 h 1853"/>
                <a:gd name="T4" fmla="*/ 1912 w 3383"/>
                <a:gd name="T5" fmla="*/ 0 h 1853"/>
                <a:gd name="T6" fmla="*/ 0 w 3383"/>
                <a:gd name="T7" fmla="*/ 0 h 1853"/>
                <a:gd name="T8" fmla="*/ 0 w 3383"/>
                <a:gd name="T9" fmla="*/ 450 h 1853"/>
                <a:gd name="T10" fmla="*/ 3140 w 3383"/>
                <a:gd name="T11" fmla="*/ 1853 h 1853"/>
                <a:gd name="T12" fmla="*/ 3333 w 3383"/>
                <a:gd name="T13" fmla="*/ 1668 h 1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83" h="1853">
                  <a:moveTo>
                    <a:pt x="3333" y="1668"/>
                  </a:moveTo>
                  <a:lnTo>
                    <a:pt x="3383" y="1668"/>
                  </a:lnTo>
                  <a:lnTo>
                    <a:pt x="1912" y="0"/>
                  </a:lnTo>
                  <a:lnTo>
                    <a:pt x="0" y="0"/>
                  </a:lnTo>
                  <a:lnTo>
                    <a:pt x="0" y="450"/>
                  </a:lnTo>
                  <a:lnTo>
                    <a:pt x="3140" y="1853"/>
                  </a:lnTo>
                  <a:lnTo>
                    <a:pt x="3333" y="166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38" name="Freeform 11"/>
            <p:cNvSpPr>
              <a:spLocks/>
            </p:cNvSpPr>
            <p:nvPr userDrawn="1"/>
          </p:nvSpPr>
          <p:spPr bwMode="auto">
            <a:xfrm>
              <a:off x="7478713" y="2295772"/>
              <a:ext cx="4711700" cy="1667970"/>
            </a:xfrm>
            <a:custGeom>
              <a:avLst/>
              <a:gdLst>
                <a:gd name="T0" fmla="*/ 144 w 2968"/>
                <a:gd name="T1" fmla="*/ 609 h 837"/>
                <a:gd name="T2" fmla="*/ 76 w 2968"/>
                <a:gd name="T3" fmla="*/ 674 h 837"/>
                <a:gd name="T4" fmla="*/ 2968 w 2968"/>
                <a:gd name="T5" fmla="*/ 837 h 837"/>
                <a:gd name="T6" fmla="*/ 2968 w 2968"/>
                <a:gd name="T7" fmla="*/ 0 h 837"/>
                <a:gd name="T8" fmla="*/ 0 w 2968"/>
                <a:gd name="T9" fmla="*/ 468 h 837"/>
                <a:gd name="T10" fmla="*/ 144 w 2968"/>
                <a:gd name="T11" fmla="*/ 609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68" h="837">
                  <a:moveTo>
                    <a:pt x="144" y="609"/>
                  </a:moveTo>
                  <a:lnTo>
                    <a:pt x="76" y="674"/>
                  </a:lnTo>
                  <a:lnTo>
                    <a:pt x="2968" y="837"/>
                  </a:lnTo>
                  <a:lnTo>
                    <a:pt x="2968" y="0"/>
                  </a:lnTo>
                  <a:lnTo>
                    <a:pt x="0" y="468"/>
                  </a:lnTo>
                  <a:lnTo>
                    <a:pt x="144" y="609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0" name="Freeform 12"/>
            <p:cNvSpPr>
              <a:spLocks/>
            </p:cNvSpPr>
            <p:nvPr userDrawn="1"/>
          </p:nvSpPr>
          <p:spPr bwMode="auto">
            <a:xfrm>
              <a:off x="7324725" y="574411"/>
              <a:ext cx="4865688" cy="2764366"/>
            </a:xfrm>
            <a:custGeom>
              <a:avLst/>
              <a:gdLst>
                <a:gd name="T0" fmla="*/ 179 w 3147"/>
                <a:gd name="T1" fmla="*/ 1577 h 1577"/>
                <a:gd name="T2" fmla="*/ 3147 w 3147"/>
                <a:gd name="T3" fmla="*/ 1109 h 1577"/>
                <a:gd name="T4" fmla="*/ 3147 w 3147"/>
                <a:gd name="T5" fmla="*/ 0 h 1577"/>
                <a:gd name="T6" fmla="*/ 0 w 3147"/>
                <a:gd name="T7" fmla="*/ 1405 h 1577"/>
                <a:gd name="T8" fmla="*/ 179 w 3147"/>
                <a:gd name="T9" fmla="*/ 1577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7" h="1577">
                  <a:moveTo>
                    <a:pt x="179" y="1577"/>
                  </a:moveTo>
                  <a:lnTo>
                    <a:pt x="3147" y="1109"/>
                  </a:lnTo>
                  <a:lnTo>
                    <a:pt x="3147" y="0"/>
                  </a:lnTo>
                  <a:lnTo>
                    <a:pt x="0" y="1405"/>
                  </a:lnTo>
                  <a:lnTo>
                    <a:pt x="179" y="157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 userDrawn="1"/>
          </p:nvSpPr>
          <p:spPr bwMode="auto">
            <a:xfrm>
              <a:off x="6794500" y="3175"/>
              <a:ext cx="5395913" cy="2932113"/>
            </a:xfrm>
            <a:custGeom>
              <a:avLst/>
              <a:gdLst>
                <a:gd name="T0" fmla="*/ 67 w 3399"/>
                <a:gd name="T1" fmla="*/ 1668 h 1847"/>
                <a:gd name="T2" fmla="*/ 252 w 3399"/>
                <a:gd name="T3" fmla="*/ 1847 h 1847"/>
                <a:gd name="T4" fmla="*/ 3399 w 3399"/>
                <a:gd name="T5" fmla="*/ 442 h 1847"/>
                <a:gd name="T6" fmla="*/ 3399 w 3399"/>
                <a:gd name="T7" fmla="*/ 0 h 1847"/>
                <a:gd name="T8" fmla="*/ 1471 w 3399"/>
                <a:gd name="T9" fmla="*/ 0 h 1847"/>
                <a:gd name="T10" fmla="*/ 0 w 3399"/>
                <a:gd name="T11" fmla="*/ 1668 h 1847"/>
                <a:gd name="T12" fmla="*/ 67 w 3399"/>
                <a:gd name="T13" fmla="*/ 1668 h 1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9" h="1847">
                  <a:moveTo>
                    <a:pt x="67" y="1668"/>
                  </a:moveTo>
                  <a:lnTo>
                    <a:pt x="252" y="1847"/>
                  </a:lnTo>
                  <a:lnTo>
                    <a:pt x="3399" y="442"/>
                  </a:lnTo>
                  <a:lnTo>
                    <a:pt x="3399" y="0"/>
                  </a:lnTo>
                  <a:lnTo>
                    <a:pt x="1471" y="0"/>
                  </a:lnTo>
                  <a:lnTo>
                    <a:pt x="0" y="1668"/>
                  </a:lnTo>
                  <a:lnTo>
                    <a:pt x="67" y="16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-1589" y="472859"/>
              <a:ext cx="5576712" cy="2997634"/>
            </a:xfrm>
            <a:custGeom>
              <a:avLst/>
              <a:gdLst>
                <a:gd name="T0" fmla="*/ 3140 w 3140"/>
                <a:gd name="T1" fmla="*/ 1403 h 1580"/>
                <a:gd name="T2" fmla="*/ 0 w 3140"/>
                <a:gd name="T3" fmla="*/ 0 h 1580"/>
                <a:gd name="T4" fmla="*/ 0 w 3140"/>
                <a:gd name="T5" fmla="*/ 1115 h 1580"/>
                <a:gd name="T6" fmla="*/ 2957 w 3140"/>
                <a:gd name="T7" fmla="*/ 1580 h 1580"/>
                <a:gd name="T8" fmla="*/ 3140 w 3140"/>
                <a:gd name="T9" fmla="*/ 1403 h 1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0" h="1580">
                  <a:moveTo>
                    <a:pt x="3140" y="1403"/>
                  </a:moveTo>
                  <a:lnTo>
                    <a:pt x="0" y="0"/>
                  </a:lnTo>
                  <a:lnTo>
                    <a:pt x="0" y="1115"/>
                  </a:lnTo>
                  <a:lnTo>
                    <a:pt x="2957" y="1580"/>
                  </a:lnTo>
                  <a:lnTo>
                    <a:pt x="3140" y="1403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6101550" y="3963742"/>
              <a:ext cx="6080821" cy="2894259"/>
            </a:xfrm>
            <a:custGeom>
              <a:avLst/>
              <a:gdLst>
                <a:gd name="T0" fmla="*/ 312 w 2936"/>
                <a:gd name="T1" fmla="*/ 75 h 1744"/>
                <a:gd name="T2" fmla="*/ 0 w 2936"/>
                <a:gd name="T3" fmla="*/ 75 h 1744"/>
                <a:gd name="T4" fmla="*/ 695 w 2936"/>
                <a:gd name="T5" fmla="*/ 1744 h 1744"/>
                <a:gd name="T6" fmla="*/ 2936 w 2936"/>
                <a:gd name="T7" fmla="*/ 1744 h 1744"/>
                <a:gd name="T8" fmla="*/ 390 w 2936"/>
                <a:gd name="T9" fmla="*/ 0 h 1744"/>
                <a:gd name="T10" fmla="*/ 312 w 2936"/>
                <a:gd name="T11" fmla="*/ 75 h 1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36" h="1744">
                  <a:moveTo>
                    <a:pt x="312" y="75"/>
                  </a:moveTo>
                  <a:lnTo>
                    <a:pt x="0" y="75"/>
                  </a:lnTo>
                  <a:lnTo>
                    <a:pt x="695" y="1744"/>
                  </a:lnTo>
                  <a:lnTo>
                    <a:pt x="2936" y="1744"/>
                  </a:lnTo>
                  <a:lnTo>
                    <a:pt x="390" y="0"/>
                  </a:lnTo>
                  <a:lnTo>
                    <a:pt x="312" y="75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 userDrawn="1"/>
          </p:nvSpPr>
          <p:spPr bwMode="auto">
            <a:xfrm>
              <a:off x="4656138" y="4208463"/>
              <a:ext cx="2852738" cy="2649538"/>
            </a:xfrm>
            <a:custGeom>
              <a:avLst/>
              <a:gdLst>
                <a:gd name="T0" fmla="*/ 696 w 1797"/>
                <a:gd name="T1" fmla="*/ 0 h 1669"/>
                <a:gd name="T2" fmla="*/ 0 w 1797"/>
                <a:gd name="T3" fmla="*/ 1669 h 1669"/>
                <a:gd name="T4" fmla="*/ 1797 w 1797"/>
                <a:gd name="T5" fmla="*/ 1669 h 1669"/>
                <a:gd name="T6" fmla="*/ 1102 w 1797"/>
                <a:gd name="T7" fmla="*/ 0 h 1669"/>
                <a:gd name="T8" fmla="*/ 696 w 1797"/>
                <a:gd name="T9" fmla="*/ 0 h 1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7" h="1669">
                  <a:moveTo>
                    <a:pt x="696" y="0"/>
                  </a:moveTo>
                  <a:lnTo>
                    <a:pt x="0" y="1669"/>
                  </a:lnTo>
                  <a:lnTo>
                    <a:pt x="1797" y="1669"/>
                  </a:lnTo>
                  <a:lnTo>
                    <a:pt x="1102" y="0"/>
                  </a:lnTo>
                  <a:lnTo>
                    <a:pt x="6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 userDrawn="1"/>
          </p:nvSpPr>
          <p:spPr bwMode="auto">
            <a:xfrm>
              <a:off x="7024688" y="3798888"/>
              <a:ext cx="5165725" cy="3059113"/>
            </a:xfrm>
            <a:custGeom>
              <a:avLst/>
              <a:gdLst>
                <a:gd name="T0" fmla="*/ 0 w 3254"/>
                <a:gd name="T1" fmla="*/ 183 h 1927"/>
                <a:gd name="T2" fmla="*/ 2546 w 3254"/>
                <a:gd name="T3" fmla="*/ 1927 h 1927"/>
                <a:gd name="T4" fmla="*/ 3254 w 3254"/>
                <a:gd name="T5" fmla="*/ 1927 h 1927"/>
                <a:gd name="T6" fmla="*/ 3254 w 3254"/>
                <a:gd name="T7" fmla="*/ 888 h 1927"/>
                <a:gd name="T8" fmla="*/ 189 w 3254"/>
                <a:gd name="T9" fmla="*/ 0 h 1927"/>
                <a:gd name="T10" fmla="*/ 0 w 3254"/>
                <a:gd name="T11" fmla="*/ 183 h 1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54" h="1927">
                  <a:moveTo>
                    <a:pt x="0" y="183"/>
                  </a:moveTo>
                  <a:lnTo>
                    <a:pt x="2546" y="1927"/>
                  </a:lnTo>
                  <a:lnTo>
                    <a:pt x="3254" y="1927"/>
                  </a:lnTo>
                  <a:lnTo>
                    <a:pt x="3254" y="888"/>
                  </a:lnTo>
                  <a:lnTo>
                    <a:pt x="189" y="0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 userDrawn="1"/>
          </p:nvSpPr>
          <p:spPr bwMode="auto">
            <a:xfrm>
              <a:off x="-1588" y="3525838"/>
              <a:ext cx="4859338" cy="1701800"/>
            </a:xfrm>
            <a:custGeom>
              <a:avLst/>
              <a:gdLst>
                <a:gd name="T0" fmla="*/ 2886 w 3061"/>
                <a:gd name="T1" fmla="*/ 0 h 1072"/>
                <a:gd name="T2" fmla="*/ 0 w 3061"/>
                <a:gd name="T3" fmla="*/ 162 h 1072"/>
                <a:gd name="T4" fmla="*/ 0 w 3061"/>
                <a:gd name="T5" fmla="*/ 1072 h 1072"/>
                <a:gd name="T6" fmla="*/ 3061 w 3061"/>
                <a:gd name="T7" fmla="*/ 169 h 1072"/>
                <a:gd name="T8" fmla="*/ 2886 w 3061"/>
                <a:gd name="T9" fmla="*/ 0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1" h="1072">
                  <a:moveTo>
                    <a:pt x="2886" y="0"/>
                  </a:moveTo>
                  <a:lnTo>
                    <a:pt x="0" y="162"/>
                  </a:lnTo>
                  <a:lnTo>
                    <a:pt x="0" y="1072"/>
                  </a:lnTo>
                  <a:lnTo>
                    <a:pt x="3061" y="169"/>
                  </a:lnTo>
                  <a:lnTo>
                    <a:pt x="28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7" name="Freeform 19"/>
            <p:cNvSpPr>
              <a:spLocks/>
            </p:cNvSpPr>
            <p:nvPr userDrawn="1"/>
          </p:nvSpPr>
          <p:spPr bwMode="auto">
            <a:xfrm>
              <a:off x="-1588" y="2487613"/>
              <a:ext cx="4694238" cy="1295400"/>
            </a:xfrm>
            <a:custGeom>
              <a:avLst/>
              <a:gdLst>
                <a:gd name="T0" fmla="*/ 2823 w 2957"/>
                <a:gd name="T1" fmla="*/ 595 h 816"/>
                <a:gd name="T2" fmla="*/ 2957 w 2957"/>
                <a:gd name="T3" fmla="*/ 465 h 816"/>
                <a:gd name="T4" fmla="*/ 0 w 2957"/>
                <a:gd name="T5" fmla="*/ 0 h 816"/>
                <a:gd name="T6" fmla="*/ 0 w 2957"/>
                <a:gd name="T7" fmla="*/ 816 h 816"/>
                <a:gd name="T8" fmla="*/ 2886 w 2957"/>
                <a:gd name="T9" fmla="*/ 654 h 816"/>
                <a:gd name="T10" fmla="*/ 2823 w 2957"/>
                <a:gd name="T11" fmla="*/ 595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57" h="816">
                  <a:moveTo>
                    <a:pt x="2823" y="595"/>
                  </a:moveTo>
                  <a:lnTo>
                    <a:pt x="2957" y="465"/>
                  </a:lnTo>
                  <a:lnTo>
                    <a:pt x="0" y="0"/>
                  </a:lnTo>
                  <a:lnTo>
                    <a:pt x="0" y="816"/>
                  </a:lnTo>
                  <a:lnTo>
                    <a:pt x="2886" y="654"/>
                  </a:lnTo>
                  <a:lnTo>
                    <a:pt x="2823" y="59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>
              <a:spLocks/>
            </p:cNvSpPr>
            <p:nvPr userDrawn="1"/>
          </p:nvSpPr>
          <p:spPr bwMode="auto">
            <a:xfrm>
              <a:off x="1165225" y="4078288"/>
              <a:ext cx="4595813" cy="2779713"/>
            </a:xfrm>
            <a:custGeom>
              <a:avLst/>
              <a:gdLst>
                <a:gd name="T0" fmla="*/ 2598 w 2895"/>
                <a:gd name="T1" fmla="*/ 82 h 1751"/>
                <a:gd name="T2" fmla="*/ 2512 w 2895"/>
                <a:gd name="T3" fmla="*/ 0 h 1751"/>
                <a:gd name="T4" fmla="*/ 0 w 2895"/>
                <a:gd name="T5" fmla="*/ 1751 h 1751"/>
                <a:gd name="T6" fmla="*/ 2199 w 2895"/>
                <a:gd name="T7" fmla="*/ 1751 h 1751"/>
                <a:gd name="T8" fmla="*/ 2895 w 2895"/>
                <a:gd name="T9" fmla="*/ 82 h 1751"/>
                <a:gd name="T10" fmla="*/ 2598 w 2895"/>
                <a:gd name="T11" fmla="*/ 82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95" h="1751">
                  <a:moveTo>
                    <a:pt x="2598" y="82"/>
                  </a:moveTo>
                  <a:lnTo>
                    <a:pt x="2512" y="0"/>
                  </a:lnTo>
                  <a:lnTo>
                    <a:pt x="0" y="1751"/>
                  </a:lnTo>
                  <a:lnTo>
                    <a:pt x="2199" y="1751"/>
                  </a:lnTo>
                  <a:lnTo>
                    <a:pt x="2895" y="82"/>
                  </a:lnTo>
                  <a:lnTo>
                    <a:pt x="2598" y="8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6454" y="3794124"/>
              <a:ext cx="5146571" cy="3063877"/>
            </a:xfrm>
            <a:custGeom>
              <a:avLst/>
              <a:gdLst>
                <a:gd name="T0" fmla="*/ 3061 w 3247"/>
                <a:gd name="T1" fmla="*/ 0 h 1930"/>
                <a:gd name="T2" fmla="*/ 0 w 3247"/>
                <a:gd name="T3" fmla="*/ 903 h 1930"/>
                <a:gd name="T4" fmla="*/ 0 w 3247"/>
                <a:gd name="T5" fmla="*/ 1930 h 1930"/>
                <a:gd name="T6" fmla="*/ 735 w 3247"/>
                <a:gd name="T7" fmla="*/ 1930 h 1930"/>
                <a:gd name="T8" fmla="*/ 3247 w 3247"/>
                <a:gd name="T9" fmla="*/ 179 h 1930"/>
                <a:gd name="T10" fmla="*/ 3061 w 3247"/>
                <a:gd name="T11" fmla="*/ 0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7" h="1930">
                  <a:moveTo>
                    <a:pt x="3061" y="0"/>
                  </a:moveTo>
                  <a:lnTo>
                    <a:pt x="0" y="903"/>
                  </a:lnTo>
                  <a:lnTo>
                    <a:pt x="0" y="1930"/>
                  </a:lnTo>
                  <a:lnTo>
                    <a:pt x="735" y="1930"/>
                  </a:lnTo>
                  <a:lnTo>
                    <a:pt x="3247" y="179"/>
                  </a:lnTo>
                  <a:lnTo>
                    <a:pt x="3061" y="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/>
            </p:cNvSpPr>
            <p:nvPr userDrawn="1"/>
          </p:nvSpPr>
          <p:spPr bwMode="auto">
            <a:xfrm>
              <a:off x="4479925" y="2651125"/>
              <a:ext cx="3227388" cy="1557338"/>
            </a:xfrm>
            <a:custGeom>
              <a:avLst/>
              <a:gdLst>
                <a:gd name="T0" fmla="*/ 510 w 2033"/>
                <a:gd name="T1" fmla="*/ 981 h 981"/>
                <a:gd name="T2" fmla="*/ 0 w 2033"/>
                <a:gd name="T3" fmla="*/ 492 h 981"/>
                <a:gd name="T4" fmla="*/ 510 w 2033"/>
                <a:gd name="T5" fmla="*/ 0 h 981"/>
                <a:gd name="T6" fmla="*/ 1525 w 2033"/>
                <a:gd name="T7" fmla="*/ 0 h 981"/>
                <a:gd name="T8" fmla="*/ 2033 w 2033"/>
                <a:gd name="T9" fmla="*/ 492 h 981"/>
                <a:gd name="T10" fmla="*/ 1525 w 2033"/>
                <a:gd name="T11" fmla="*/ 981 h 981"/>
                <a:gd name="T12" fmla="*/ 510 w 2033"/>
                <a:gd name="T13" fmla="*/ 981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33" h="981">
                  <a:moveTo>
                    <a:pt x="510" y="981"/>
                  </a:moveTo>
                  <a:lnTo>
                    <a:pt x="0" y="492"/>
                  </a:lnTo>
                  <a:lnTo>
                    <a:pt x="510" y="0"/>
                  </a:lnTo>
                  <a:lnTo>
                    <a:pt x="1525" y="0"/>
                  </a:lnTo>
                  <a:lnTo>
                    <a:pt x="2033" y="492"/>
                  </a:lnTo>
                  <a:lnTo>
                    <a:pt x="1525" y="981"/>
                  </a:lnTo>
                  <a:lnTo>
                    <a:pt x="510" y="98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</p:grpSp>
      <p:grpSp>
        <p:nvGrpSpPr>
          <p:cNvPr id="88" name="Gruppieren 87"/>
          <p:cNvGrpSpPr/>
          <p:nvPr userDrawn="1"/>
        </p:nvGrpSpPr>
        <p:grpSpPr>
          <a:xfrm>
            <a:off x="-6039" y="0"/>
            <a:ext cx="9156078" cy="5143500"/>
            <a:chOff x="-1588" y="3175"/>
            <a:chExt cx="12192001" cy="6854826"/>
          </a:xfrm>
        </p:grpSpPr>
        <p:sp>
          <p:nvSpPr>
            <p:cNvPr id="89" name="Freeform 7"/>
            <p:cNvSpPr>
              <a:spLocks/>
            </p:cNvSpPr>
            <p:nvPr userDrawn="1"/>
          </p:nvSpPr>
          <p:spPr bwMode="auto">
            <a:xfrm>
              <a:off x="3033713" y="3175"/>
              <a:ext cx="3046413" cy="2647950"/>
            </a:xfrm>
            <a:custGeom>
              <a:avLst/>
              <a:gdLst>
                <a:gd name="T0" fmla="*/ 1919 w 1919"/>
                <a:gd name="T1" fmla="*/ 1668 h 1668"/>
                <a:gd name="T2" fmla="*/ 1898 w 1919"/>
                <a:gd name="T3" fmla="*/ 0 h 1668"/>
                <a:gd name="T4" fmla="*/ 0 w 1919"/>
                <a:gd name="T5" fmla="*/ 0 h 1668"/>
                <a:gd name="T6" fmla="*/ 1471 w 1919"/>
                <a:gd name="T7" fmla="*/ 1668 h 1668"/>
                <a:gd name="T8" fmla="*/ 1919 w 1919"/>
                <a:gd name="T9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9" h="1668">
                  <a:moveTo>
                    <a:pt x="1919" y="1668"/>
                  </a:moveTo>
                  <a:lnTo>
                    <a:pt x="1898" y="0"/>
                  </a:lnTo>
                  <a:lnTo>
                    <a:pt x="0" y="0"/>
                  </a:lnTo>
                  <a:lnTo>
                    <a:pt x="1471" y="1668"/>
                  </a:lnTo>
                  <a:lnTo>
                    <a:pt x="1919" y="166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0" name="Freeform 8"/>
            <p:cNvSpPr>
              <a:spLocks/>
            </p:cNvSpPr>
            <p:nvPr userDrawn="1"/>
          </p:nvSpPr>
          <p:spPr bwMode="auto">
            <a:xfrm>
              <a:off x="7324725" y="3535363"/>
              <a:ext cx="4865688" cy="1673225"/>
            </a:xfrm>
            <a:custGeom>
              <a:avLst/>
              <a:gdLst>
                <a:gd name="T0" fmla="*/ 173 w 3065"/>
                <a:gd name="T1" fmla="*/ 0 h 1054"/>
                <a:gd name="T2" fmla="*/ 0 w 3065"/>
                <a:gd name="T3" fmla="*/ 166 h 1054"/>
                <a:gd name="T4" fmla="*/ 3065 w 3065"/>
                <a:gd name="T5" fmla="*/ 1054 h 1054"/>
                <a:gd name="T6" fmla="*/ 3065 w 3065"/>
                <a:gd name="T7" fmla="*/ 163 h 1054"/>
                <a:gd name="T8" fmla="*/ 173 w 3065"/>
                <a:gd name="T9" fmla="*/ 0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5" h="1054">
                  <a:moveTo>
                    <a:pt x="173" y="0"/>
                  </a:moveTo>
                  <a:lnTo>
                    <a:pt x="0" y="166"/>
                  </a:lnTo>
                  <a:lnTo>
                    <a:pt x="3065" y="1054"/>
                  </a:lnTo>
                  <a:lnTo>
                    <a:pt x="3065" y="163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1" name="Freeform 9"/>
            <p:cNvSpPr>
              <a:spLocks/>
            </p:cNvSpPr>
            <p:nvPr userDrawn="1"/>
          </p:nvSpPr>
          <p:spPr bwMode="auto">
            <a:xfrm>
              <a:off x="6046788" y="3175"/>
              <a:ext cx="3082925" cy="2647950"/>
            </a:xfrm>
            <a:custGeom>
              <a:avLst/>
              <a:gdLst>
                <a:gd name="T0" fmla="*/ 471 w 1942"/>
                <a:gd name="T1" fmla="*/ 1668 h 1668"/>
                <a:gd name="T2" fmla="*/ 1942 w 1942"/>
                <a:gd name="T3" fmla="*/ 0 h 1668"/>
                <a:gd name="T4" fmla="*/ 0 w 1942"/>
                <a:gd name="T5" fmla="*/ 0 h 1668"/>
                <a:gd name="T6" fmla="*/ 21 w 1942"/>
                <a:gd name="T7" fmla="*/ 1668 h 1668"/>
                <a:gd name="T8" fmla="*/ 471 w 1942"/>
                <a:gd name="T9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2" h="1668">
                  <a:moveTo>
                    <a:pt x="471" y="1668"/>
                  </a:moveTo>
                  <a:lnTo>
                    <a:pt x="1942" y="0"/>
                  </a:lnTo>
                  <a:lnTo>
                    <a:pt x="0" y="0"/>
                  </a:lnTo>
                  <a:lnTo>
                    <a:pt x="21" y="1668"/>
                  </a:lnTo>
                  <a:lnTo>
                    <a:pt x="471" y="1668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10"/>
            <p:cNvSpPr>
              <a:spLocks/>
            </p:cNvSpPr>
            <p:nvPr userDrawn="1"/>
          </p:nvSpPr>
          <p:spPr bwMode="auto">
            <a:xfrm>
              <a:off x="-1588" y="3175"/>
              <a:ext cx="5370513" cy="2941638"/>
            </a:xfrm>
            <a:custGeom>
              <a:avLst/>
              <a:gdLst>
                <a:gd name="T0" fmla="*/ 3333 w 3383"/>
                <a:gd name="T1" fmla="*/ 1668 h 1853"/>
                <a:gd name="T2" fmla="*/ 3383 w 3383"/>
                <a:gd name="T3" fmla="*/ 1668 h 1853"/>
                <a:gd name="T4" fmla="*/ 1912 w 3383"/>
                <a:gd name="T5" fmla="*/ 0 h 1853"/>
                <a:gd name="T6" fmla="*/ 0 w 3383"/>
                <a:gd name="T7" fmla="*/ 0 h 1853"/>
                <a:gd name="T8" fmla="*/ 0 w 3383"/>
                <a:gd name="T9" fmla="*/ 450 h 1853"/>
                <a:gd name="T10" fmla="*/ 3140 w 3383"/>
                <a:gd name="T11" fmla="*/ 1853 h 1853"/>
                <a:gd name="T12" fmla="*/ 3333 w 3383"/>
                <a:gd name="T13" fmla="*/ 1668 h 1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83" h="1853">
                  <a:moveTo>
                    <a:pt x="3333" y="1668"/>
                  </a:moveTo>
                  <a:lnTo>
                    <a:pt x="3383" y="1668"/>
                  </a:lnTo>
                  <a:lnTo>
                    <a:pt x="1912" y="0"/>
                  </a:lnTo>
                  <a:lnTo>
                    <a:pt x="0" y="0"/>
                  </a:lnTo>
                  <a:lnTo>
                    <a:pt x="0" y="450"/>
                  </a:lnTo>
                  <a:lnTo>
                    <a:pt x="3140" y="1853"/>
                  </a:lnTo>
                  <a:lnTo>
                    <a:pt x="3333" y="16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3" name="Freeform 11"/>
            <p:cNvSpPr>
              <a:spLocks/>
            </p:cNvSpPr>
            <p:nvPr userDrawn="1"/>
          </p:nvSpPr>
          <p:spPr bwMode="auto">
            <a:xfrm>
              <a:off x="7478713" y="2465388"/>
              <a:ext cx="4711700" cy="1328738"/>
            </a:xfrm>
            <a:custGeom>
              <a:avLst/>
              <a:gdLst>
                <a:gd name="T0" fmla="*/ 144 w 2968"/>
                <a:gd name="T1" fmla="*/ 609 h 837"/>
                <a:gd name="T2" fmla="*/ 76 w 2968"/>
                <a:gd name="T3" fmla="*/ 674 h 837"/>
                <a:gd name="T4" fmla="*/ 2968 w 2968"/>
                <a:gd name="T5" fmla="*/ 837 h 837"/>
                <a:gd name="T6" fmla="*/ 2968 w 2968"/>
                <a:gd name="T7" fmla="*/ 0 h 837"/>
                <a:gd name="T8" fmla="*/ 0 w 2968"/>
                <a:gd name="T9" fmla="*/ 468 h 837"/>
                <a:gd name="T10" fmla="*/ 144 w 2968"/>
                <a:gd name="T11" fmla="*/ 609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68" h="837">
                  <a:moveTo>
                    <a:pt x="144" y="609"/>
                  </a:moveTo>
                  <a:lnTo>
                    <a:pt x="76" y="674"/>
                  </a:lnTo>
                  <a:lnTo>
                    <a:pt x="2968" y="837"/>
                  </a:lnTo>
                  <a:lnTo>
                    <a:pt x="2968" y="0"/>
                  </a:lnTo>
                  <a:lnTo>
                    <a:pt x="0" y="468"/>
                  </a:lnTo>
                  <a:lnTo>
                    <a:pt x="144" y="609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4" name="Freeform 12"/>
            <p:cNvSpPr>
              <a:spLocks/>
            </p:cNvSpPr>
            <p:nvPr userDrawn="1"/>
          </p:nvSpPr>
          <p:spPr bwMode="auto">
            <a:xfrm>
              <a:off x="7194550" y="704850"/>
              <a:ext cx="4995863" cy="2503488"/>
            </a:xfrm>
            <a:custGeom>
              <a:avLst/>
              <a:gdLst>
                <a:gd name="T0" fmla="*/ 179 w 3147"/>
                <a:gd name="T1" fmla="*/ 1577 h 1577"/>
                <a:gd name="T2" fmla="*/ 3147 w 3147"/>
                <a:gd name="T3" fmla="*/ 1109 h 1577"/>
                <a:gd name="T4" fmla="*/ 3147 w 3147"/>
                <a:gd name="T5" fmla="*/ 0 h 1577"/>
                <a:gd name="T6" fmla="*/ 0 w 3147"/>
                <a:gd name="T7" fmla="*/ 1405 h 1577"/>
                <a:gd name="T8" fmla="*/ 179 w 3147"/>
                <a:gd name="T9" fmla="*/ 1577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7" h="1577">
                  <a:moveTo>
                    <a:pt x="179" y="1577"/>
                  </a:moveTo>
                  <a:lnTo>
                    <a:pt x="3147" y="1109"/>
                  </a:lnTo>
                  <a:lnTo>
                    <a:pt x="3147" y="0"/>
                  </a:lnTo>
                  <a:lnTo>
                    <a:pt x="0" y="1405"/>
                  </a:lnTo>
                  <a:lnTo>
                    <a:pt x="179" y="157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5" name="Freeform 13"/>
            <p:cNvSpPr>
              <a:spLocks/>
            </p:cNvSpPr>
            <p:nvPr userDrawn="1"/>
          </p:nvSpPr>
          <p:spPr bwMode="auto">
            <a:xfrm>
              <a:off x="6794500" y="3175"/>
              <a:ext cx="5395913" cy="2932113"/>
            </a:xfrm>
            <a:custGeom>
              <a:avLst/>
              <a:gdLst>
                <a:gd name="T0" fmla="*/ 67 w 3399"/>
                <a:gd name="T1" fmla="*/ 1668 h 1847"/>
                <a:gd name="T2" fmla="*/ 252 w 3399"/>
                <a:gd name="T3" fmla="*/ 1847 h 1847"/>
                <a:gd name="T4" fmla="*/ 3399 w 3399"/>
                <a:gd name="T5" fmla="*/ 442 h 1847"/>
                <a:gd name="T6" fmla="*/ 3399 w 3399"/>
                <a:gd name="T7" fmla="*/ 0 h 1847"/>
                <a:gd name="T8" fmla="*/ 1471 w 3399"/>
                <a:gd name="T9" fmla="*/ 0 h 1847"/>
                <a:gd name="T10" fmla="*/ 0 w 3399"/>
                <a:gd name="T11" fmla="*/ 1668 h 1847"/>
                <a:gd name="T12" fmla="*/ 67 w 3399"/>
                <a:gd name="T13" fmla="*/ 1668 h 1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9" h="1847">
                  <a:moveTo>
                    <a:pt x="67" y="1668"/>
                  </a:moveTo>
                  <a:lnTo>
                    <a:pt x="252" y="1847"/>
                  </a:lnTo>
                  <a:lnTo>
                    <a:pt x="3399" y="442"/>
                  </a:lnTo>
                  <a:lnTo>
                    <a:pt x="3399" y="0"/>
                  </a:lnTo>
                  <a:lnTo>
                    <a:pt x="1471" y="0"/>
                  </a:lnTo>
                  <a:lnTo>
                    <a:pt x="0" y="1668"/>
                  </a:lnTo>
                  <a:lnTo>
                    <a:pt x="67" y="16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6" name="Freeform 14"/>
            <p:cNvSpPr>
              <a:spLocks/>
            </p:cNvSpPr>
            <p:nvPr userDrawn="1"/>
          </p:nvSpPr>
          <p:spPr bwMode="auto">
            <a:xfrm>
              <a:off x="-1588" y="717550"/>
              <a:ext cx="4984750" cy="2508250"/>
            </a:xfrm>
            <a:custGeom>
              <a:avLst/>
              <a:gdLst>
                <a:gd name="T0" fmla="*/ 3140 w 3140"/>
                <a:gd name="T1" fmla="*/ 1403 h 1580"/>
                <a:gd name="T2" fmla="*/ 0 w 3140"/>
                <a:gd name="T3" fmla="*/ 0 h 1580"/>
                <a:gd name="T4" fmla="*/ 0 w 3140"/>
                <a:gd name="T5" fmla="*/ 1115 h 1580"/>
                <a:gd name="T6" fmla="*/ 2957 w 3140"/>
                <a:gd name="T7" fmla="*/ 1580 h 1580"/>
                <a:gd name="T8" fmla="*/ 3140 w 3140"/>
                <a:gd name="T9" fmla="*/ 1403 h 1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0" h="1580">
                  <a:moveTo>
                    <a:pt x="3140" y="1403"/>
                  </a:moveTo>
                  <a:lnTo>
                    <a:pt x="0" y="0"/>
                  </a:lnTo>
                  <a:lnTo>
                    <a:pt x="0" y="1115"/>
                  </a:lnTo>
                  <a:lnTo>
                    <a:pt x="2957" y="1580"/>
                  </a:lnTo>
                  <a:lnTo>
                    <a:pt x="3140" y="1403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7" name="Freeform 15"/>
            <p:cNvSpPr>
              <a:spLocks/>
            </p:cNvSpPr>
            <p:nvPr userDrawn="1"/>
          </p:nvSpPr>
          <p:spPr bwMode="auto">
            <a:xfrm>
              <a:off x="6405563" y="4089400"/>
              <a:ext cx="4660900" cy="2768600"/>
            </a:xfrm>
            <a:custGeom>
              <a:avLst/>
              <a:gdLst>
                <a:gd name="T0" fmla="*/ 312 w 2936"/>
                <a:gd name="T1" fmla="*/ 75 h 1744"/>
                <a:gd name="T2" fmla="*/ 0 w 2936"/>
                <a:gd name="T3" fmla="*/ 75 h 1744"/>
                <a:gd name="T4" fmla="*/ 695 w 2936"/>
                <a:gd name="T5" fmla="*/ 1744 h 1744"/>
                <a:gd name="T6" fmla="*/ 2936 w 2936"/>
                <a:gd name="T7" fmla="*/ 1744 h 1744"/>
                <a:gd name="T8" fmla="*/ 390 w 2936"/>
                <a:gd name="T9" fmla="*/ 0 h 1744"/>
                <a:gd name="T10" fmla="*/ 312 w 2936"/>
                <a:gd name="T11" fmla="*/ 75 h 1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36" h="1744">
                  <a:moveTo>
                    <a:pt x="312" y="75"/>
                  </a:moveTo>
                  <a:lnTo>
                    <a:pt x="0" y="75"/>
                  </a:lnTo>
                  <a:lnTo>
                    <a:pt x="695" y="1744"/>
                  </a:lnTo>
                  <a:lnTo>
                    <a:pt x="2936" y="1744"/>
                  </a:lnTo>
                  <a:lnTo>
                    <a:pt x="390" y="0"/>
                  </a:lnTo>
                  <a:lnTo>
                    <a:pt x="312" y="75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8" name="Freeform 16"/>
            <p:cNvSpPr>
              <a:spLocks/>
            </p:cNvSpPr>
            <p:nvPr userDrawn="1"/>
          </p:nvSpPr>
          <p:spPr bwMode="auto">
            <a:xfrm>
              <a:off x="4656138" y="4208463"/>
              <a:ext cx="2852738" cy="2649538"/>
            </a:xfrm>
            <a:custGeom>
              <a:avLst/>
              <a:gdLst>
                <a:gd name="T0" fmla="*/ 696 w 1797"/>
                <a:gd name="T1" fmla="*/ 0 h 1669"/>
                <a:gd name="T2" fmla="*/ 0 w 1797"/>
                <a:gd name="T3" fmla="*/ 1669 h 1669"/>
                <a:gd name="T4" fmla="*/ 1797 w 1797"/>
                <a:gd name="T5" fmla="*/ 1669 h 1669"/>
                <a:gd name="T6" fmla="*/ 1102 w 1797"/>
                <a:gd name="T7" fmla="*/ 0 h 1669"/>
                <a:gd name="T8" fmla="*/ 696 w 1797"/>
                <a:gd name="T9" fmla="*/ 0 h 1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7" h="1669">
                  <a:moveTo>
                    <a:pt x="696" y="0"/>
                  </a:moveTo>
                  <a:lnTo>
                    <a:pt x="0" y="1669"/>
                  </a:lnTo>
                  <a:lnTo>
                    <a:pt x="1797" y="1669"/>
                  </a:lnTo>
                  <a:lnTo>
                    <a:pt x="1102" y="0"/>
                  </a:lnTo>
                  <a:lnTo>
                    <a:pt x="6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99" name="Freeform 17"/>
            <p:cNvSpPr>
              <a:spLocks/>
            </p:cNvSpPr>
            <p:nvPr userDrawn="1"/>
          </p:nvSpPr>
          <p:spPr bwMode="auto">
            <a:xfrm>
              <a:off x="7024688" y="3798888"/>
              <a:ext cx="5165725" cy="3059113"/>
            </a:xfrm>
            <a:custGeom>
              <a:avLst/>
              <a:gdLst>
                <a:gd name="T0" fmla="*/ 0 w 3254"/>
                <a:gd name="T1" fmla="*/ 183 h 1927"/>
                <a:gd name="T2" fmla="*/ 2546 w 3254"/>
                <a:gd name="T3" fmla="*/ 1927 h 1927"/>
                <a:gd name="T4" fmla="*/ 3254 w 3254"/>
                <a:gd name="T5" fmla="*/ 1927 h 1927"/>
                <a:gd name="T6" fmla="*/ 3254 w 3254"/>
                <a:gd name="T7" fmla="*/ 888 h 1927"/>
                <a:gd name="T8" fmla="*/ 189 w 3254"/>
                <a:gd name="T9" fmla="*/ 0 h 1927"/>
                <a:gd name="T10" fmla="*/ 0 w 3254"/>
                <a:gd name="T11" fmla="*/ 183 h 1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54" h="1927">
                  <a:moveTo>
                    <a:pt x="0" y="183"/>
                  </a:moveTo>
                  <a:lnTo>
                    <a:pt x="2546" y="1927"/>
                  </a:lnTo>
                  <a:lnTo>
                    <a:pt x="3254" y="1927"/>
                  </a:lnTo>
                  <a:lnTo>
                    <a:pt x="3254" y="888"/>
                  </a:lnTo>
                  <a:lnTo>
                    <a:pt x="189" y="0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0" name="Freeform 18"/>
            <p:cNvSpPr>
              <a:spLocks/>
            </p:cNvSpPr>
            <p:nvPr userDrawn="1"/>
          </p:nvSpPr>
          <p:spPr bwMode="auto">
            <a:xfrm>
              <a:off x="-1588" y="3525838"/>
              <a:ext cx="4859338" cy="1701800"/>
            </a:xfrm>
            <a:custGeom>
              <a:avLst/>
              <a:gdLst>
                <a:gd name="T0" fmla="*/ 2886 w 3061"/>
                <a:gd name="T1" fmla="*/ 0 h 1072"/>
                <a:gd name="T2" fmla="*/ 0 w 3061"/>
                <a:gd name="T3" fmla="*/ 162 h 1072"/>
                <a:gd name="T4" fmla="*/ 0 w 3061"/>
                <a:gd name="T5" fmla="*/ 1072 h 1072"/>
                <a:gd name="T6" fmla="*/ 3061 w 3061"/>
                <a:gd name="T7" fmla="*/ 169 h 1072"/>
                <a:gd name="T8" fmla="*/ 2886 w 3061"/>
                <a:gd name="T9" fmla="*/ 0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1" h="1072">
                  <a:moveTo>
                    <a:pt x="2886" y="0"/>
                  </a:moveTo>
                  <a:lnTo>
                    <a:pt x="0" y="162"/>
                  </a:lnTo>
                  <a:lnTo>
                    <a:pt x="0" y="1072"/>
                  </a:lnTo>
                  <a:lnTo>
                    <a:pt x="3061" y="169"/>
                  </a:lnTo>
                  <a:lnTo>
                    <a:pt x="28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1" name="Freeform 19"/>
            <p:cNvSpPr>
              <a:spLocks/>
            </p:cNvSpPr>
            <p:nvPr userDrawn="1"/>
          </p:nvSpPr>
          <p:spPr bwMode="auto">
            <a:xfrm>
              <a:off x="-1588" y="2487613"/>
              <a:ext cx="4694238" cy="1295400"/>
            </a:xfrm>
            <a:custGeom>
              <a:avLst/>
              <a:gdLst>
                <a:gd name="T0" fmla="*/ 2823 w 2957"/>
                <a:gd name="T1" fmla="*/ 595 h 816"/>
                <a:gd name="T2" fmla="*/ 2957 w 2957"/>
                <a:gd name="T3" fmla="*/ 465 h 816"/>
                <a:gd name="T4" fmla="*/ 0 w 2957"/>
                <a:gd name="T5" fmla="*/ 0 h 816"/>
                <a:gd name="T6" fmla="*/ 0 w 2957"/>
                <a:gd name="T7" fmla="*/ 816 h 816"/>
                <a:gd name="T8" fmla="*/ 2886 w 2957"/>
                <a:gd name="T9" fmla="*/ 654 h 816"/>
                <a:gd name="T10" fmla="*/ 2823 w 2957"/>
                <a:gd name="T11" fmla="*/ 595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57" h="816">
                  <a:moveTo>
                    <a:pt x="2823" y="595"/>
                  </a:moveTo>
                  <a:lnTo>
                    <a:pt x="2957" y="465"/>
                  </a:lnTo>
                  <a:lnTo>
                    <a:pt x="0" y="0"/>
                  </a:lnTo>
                  <a:lnTo>
                    <a:pt x="0" y="816"/>
                  </a:lnTo>
                  <a:lnTo>
                    <a:pt x="2886" y="654"/>
                  </a:lnTo>
                  <a:lnTo>
                    <a:pt x="2823" y="59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2" name="Freeform 20"/>
            <p:cNvSpPr>
              <a:spLocks/>
            </p:cNvSpPr>
            <p:nvPr userDrawn="1"/>
          </p:nvSpPr>
          <p:spPr bwMode="auto">
            <a:xfrm>
              <a:off x="1165225" y="4078288"/>
              <a:ext cx="4595813" cy="2779713"/>
            </a:xfrm>
            <a:custGeom>
              <a:avLst/>
              <a:gdLst>
                <a:gd name="T0" fmla="*/ 2598 w 2895"/>
                <a:gd name="T1" fmla="*/ 82 h 1751"/>
                <a:gd name="T2" fmla="*/ 2512 w 2895"/>
                <a:gd name="T3" fmla="*/ 0 h 1751"/>
                <a:gd name="T4" fmla="*/ 0 w 2895"/>
                <a:gd name="T5" fmla="*/ 1751 h 1751"/>
                <a:gd name="T6" fmla="*/ 2199 w 2895"/>
                <a:gd name="T7" fmla="*/ 1751 h 1751"/>
                <a:gd name="T8" fmla="*/ 2895 w 2895"/>
                <a:gd name="T9" fmla="*/ 82 h 1751"/>
                <a:gd name="T10" fmla="*/ 2598 w 2895"/>
                <a:gd name="T11" fmla="*/ 82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95" h="1751">
                  <a:moveTo>
                    <a:pt x="2598" y="82"/>
                  </a:moveTo>
                  <a:lnTo>
                    <a:pt x="2512" y="0"/>
                  </a:lnTo>
                  <a:lnTo>
                    <a:pt x="0" y="1751"/>
                  </a:lnTo>
                  <a:lnTo>
                    <a:pt x="2199" y="1751"/>
                  </a:lnTo>
                  <a:lnTo>
                    <a:pt x="2895" y="82"/>
                  </a:lnTo>
                  <a:lnTo>
                    <a:pt x="2598" y="8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3" name="Freeform 21"/>
            <p:cNvSpPr>
              <a:spLocks/>
            </p:cNvSpPr>
            <p:nvPr userDrawn="1"/>
          </p:nvSpPr>
          <p:spPr bwMode="auto">
            <a:xfrm>
              <a:off x="-1588" y="3794124"/>
              <a:ext cx="5154613" cy="3063876"/>
            </a:xfrm>
            <a:custGeom>
              <a:avLst/>
              <a:gdLst>
                <a:gd name="T0" fmla="*/ 3061 w 3247"/>
                <a:gd name="T1" fmla="*/ 0 h 1930"/>
                <a:gd name="T2" fmla="*/ 0 w 3247"/>
                <a:gd name="T3" fmla="*/ 903 h 1930"/>
                <a:gd name="T4" fmla="*/ 0 w 3247"/>
                <a:gd name="T5" fmla="*/ 1930 h 1930"/>
                <a:gd name="T6" fmla="*/ 735 w 3247"/>
                <a:gd name="T7" fmla="*/ 1930 h 1930"/>
                <a:gd name="T8" fmla="*/ 3247 w 3247"/>
                <a:gd name="T9" fmla="*/ 179 h 1930"/>
                <a:gd name="T10" fmla="*/ 3061 w 3247"/>
                <a:gd name="T11" fmla="*/ 0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7" h="1930">
                  <a:moveTo>
                    <a:pt x="3061" y="0"/>
                  </a:moveTo>
                  <a:lnTo>
                    <a:pt x="0" y="903"/>
                  </a:lnTo>
                  <a:lnTo>
                    <a:pt x="0" y="1930"/>
                  </a:lnTo>
                  <a:lnTo>
                    <a:pt x="735" y="1930"/>
                  </a:lnTo>
                  <a:lnTo>
                    <a:pt x="3247" y="179"/>
                  </a:lnTo>
                  <a:lnTo>
                    <a:pt x="3061" y="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4" name="Freeform 22"/>
            <p:cNvSpPr>
              <a:spLocks/>
            </p:cNvSpPr>
            <p:nvPr userDrawn="1"/>
          </p:nvSpPr>
          <p:spPr bwMode="auto">
            <a:xfrm>
              <a:off x="4354202" y="2590460"/>
              <a:ext cx="3478835" cy="1678669"/>
            </a:xfrm>
            <a:custGeom>
              <a:avLst/>
              <a:gdLst>
                <a:gd name="T0" fmla="*/ 510 w 2033"/>
                <a:gd name="T1" fmla="*/ 981 h 981"/>
                <a:gd name="T2" fmla="*/ 0 w 2033"/>
                <a:gd name="T3" fmla="*/ 492 h 981"/>
                <a:gd name="T4" fmla="*/ 510 w 2033"/>
                <a:gd name="T5" fmla="*/ 0 h 981"/>
                <a:gd name="T6" fmla="*/ 1525 w 2033"/>
                <a:gd name="T7" fmla="*/ 0 h 981"/>
                <a:gd name="T8" fmla="*/ 2033 w 2033"/>
                <a:gd name="T9" fmla="*/ 492 h 981"/>
                <a:gd name="T10" fmla="*/ 1525 w 2033"/>
                <a:gd name="T11" fmla="*/ 981 h 981"/>
                <a:gd name="T12" fmla="*/ 510 w 2033"/>
                <a:gd name="T13" fmla="*/ 981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33" h="981">
                  <a:moveTo>
                    <a:pt x="510" y="981"/>
                  </a:moveTo>
                  <a:lnTo>
                    <a:pt x="0" y="492"/>
                  </a:lnTo>
                  <a:lnTo>
                    <a:pt x="510" y="0"/>
                  </a:lnTo>
                  <a:lnTo>
                    <a:pt x="1525" y="0"/>
                  </a:lnTo>
                  <a:lnTo>
                    <a:pt x="2033" y="492"/>
                  </a:lnTo>
                  <a:lnTo>
                    <a:pt x="1525" y="981"/>
                  </a:lnTo>
                  <a:lnTo>
                    <a:pt x="510" y="981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  <p:sp>
          <p:nvSpPr>
            <p:cNvPr id="106" name="Freeform 22"/>
            <p:cNvSpPr>
              <a:spLocks/>
            </p:cNvSpPr>
            <p:nvPr userDrawn="1"/>
          </p:nvSpPr>
          <p:spPr bwMode="auto">
            <a:xfrm>
              <a:off x="4422382" y="2623361"/>
              <a:ext cx="3342473" cy="1612869"/>
            </a:xfrm>
            <a:custGeom>
              <a:avLst/>
              <a:gdLst>
                <a:gd name="T0" fmla="*/ 510 w 2033"/>
                <a:gd name="T1" fmla="*/ 981 h 981"/>
                <a:gd name="T2" fmla="*/ 0 w 2033"/>
                <a:gd name="T3" fmla="*/ 492 h 981"/>
                <a:gd name="T4" fmla="*/ 510 w 2033"/>
                <a:gd name="T5" fmla="*/ 0 h 981"/>
                <a:gd name="T6" fmla="*/ 1525 w 2033"/>
                <a:gd name="T7" fmla="*/ 0 h 981"/>
                <a:gd name="T8" fmla="*/ 2033 w 2033"/>
                <a:gd name="T9" fmla="*/ 492 h 981"/>
                <a:gd name="T10" fmla="*/ 1525 w 2033"/>
                <a:gd name="T11" fmla="*/ 981 h 981"/>
                <a:gd name="T12" fmla="*/ 510 w 2033"/>
                <a:gd name="T13" fmla="*/ 981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33" h="981">
                  <a:moveTo>
                    <a:pt x="510" y="981"/>
                  </a:moveTo>
                  <a:lnTo>
                    <a:pt x="0" y="492"/>
                  </a:lnTo>
                  <a:lnTo>
                    <a:pt x="510" y="0"/>
                  </a:lnTo>
                  <a:lnTo>
                    <a:pt x="1525" y="0"/>
                  </a:lnTo>
                  <a:lnTo>
                    <a:pt x="2033" y="492"/>
                  </a:lnTo>
                  <a:lnTo>
                    <a:pt x="1525" y="981"/>
                  </a:lnTo>
                  <a:lnTo>
                    <a:pt x="510" y="981"/>
                  </a:lnTo>
                  <a:close/>
                </a:path>
              </a:pathLst>
            </a:custGeom>
            <a:noFill/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2"/>
              <a:endParaRPr lang="de-DE" sz="1425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4118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62767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D9D9D9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68573" tIns="34286" rIns="68573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45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8351099" cy="3239436"/>
          </a:xfrm>
          <a:noFill/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0176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68573" tIns="34286" rIns="68573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8351099" cy="3239436"/>
          </a:xfrm>
          <a:noFill/>
        </p:spPr>
        <p:txBody>
          <a:bodyPr/>
          <a:lstStyle>
            <a:lvl1pPr>
              <a:defRPr sz="165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1336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1" y="0"/>
            <a:ext cx="9143998" cy="43524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68573" tIns="34286" rIns="68573" bIns="34286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de-DE" sz="142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1" y="4352400"/>
            <a:ext cx="9143998" cy="7911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68573" tIns="34286" rIns="68573" bIns="34286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de-DE" sz="142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78387" y="-1596935"/>
            <a:ext cx="184731" cy="311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32"/>
            <a:endParaRPr lang="en-US" sz="142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0"/>
            <a:ext cx="7577234" cy="280608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66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81"/>
            <a:ext cx="7577234" cy="154631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3300">
                <a:solidFill>
                  <a:srgbClr val="B2B2B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35295" y="4614421"/>
            <a:ext cx="5122280" cy="27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7240" y="4614421"/>
            <a:ext cx="685820" cy="270000"/>
          </a:xfrm>
        </p:spPr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74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1" y="4352400"/>
            <a:ext cx="9143998" cy="7911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68573" tIns="34286" rIns="68573" bIns="34286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de-DE" sz="142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1" y="0"/>
            <a:ext cx="9143998" cy="43524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68573" tIns="34286" rIns="68573" bIns="34286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de-DE" sz="142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280608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525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82"/>
            <a:ext cx="7577234" cy="154631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2400">
                <a:solidFill>
                  <a:srgbClr val="B2B2B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68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 - P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76" y="485299"/>
            <a:ext cx="7772400" cy="1021556"/>
          </a:xfrm>
        </p:spPr>
        <p:txBody>
          <a:bodyPr anchor="t"/>
          <a:lstStyle>
            <a:lvl1pPr algn="l">
              <a:lnSpc>
                <a:spcPts val="3700"/>
              </a:lnSpc>
              <a:defRPr sz="3525" b="1" cap="none">
                <a:solidFill>
                  <a:srgbClr val="509E2F"/>
                </a:solidFill>
              </a:defRPr>
            </a:lvl1pPr>
          </a:lstStyle>
          <a:p>
            <a:r>
              <a:rPr lang="en-GB" dirty="0"/>
              <a:t>Section title </a:t>
            </a:r>
            <a:br>
              <a:rPr lang="en-GB" dirty="0"/>
            </a:br>
            <a:r>
              <a:rPr lang="en-GB" dirty="0"/>
              <a:t>35/37pt Arial Bol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5176" y="1868926"/>
            <a:ext cx="7772400" cy="1125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ection text in 16/19pt Arial, Mid Grey</a:t>
            </a:r>
            <a:br>
              <a:rPr lang="en-GB" dirty="0"/>
            </a:br>
            <a:r>
              <a:rPr lang="en-GB" dirty="0"/>
              <a:t>with 5pt paragraph space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6424" y="87802"/>
            <a:ext cx="702442" cy="2736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75">
                <a:solidFill>
                  <a:srgbClr val="3D5265"/>
                </a:solidFill>
              </a:defRPr>
            </a:lvl1pPr>
          </a:lstStyle>
          <a:p>
            <a:fld id="{43FA586F-2B68-234B-BD61-A828857D1B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3362" y="4767264"/>
            <a:ext cx="3778318" cy="21016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b="1" dirty="0">
                <a:solidFill>
                  <a:srgbClr val="3D5265"/>
                </a:solidFill>
              </a:rPr>
              <a:t>Presentation title goes here </a:t>
            </a:r>
            <a:r>
              <a:rPr lang="en-US" dirty="0">
                <a:solidFill>
                  <a:srgbClr val="B1B1B3"/>
                </a:solidFill>
              </a:rPr>
              <a:t>|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dirty="0">
                <a:solidFill>
                  <a:srgbClr val="3D5265"/>
                </a:solidFill>
              </a:rPr>
              <a:t>date</a:t>
            </a:r>
          </a:p>
        </p:txBody>
      </p:sp>
      <p:sp>
        <p:nvSpPr>
          <p:cNvPr id="9" name="Rectangle 6"/>
          <p:cNvSpPr/>
          <p:nvPr userDrawn="1"/>
        </p:nvSpPr>
        <p:spPr>
          <a:xfrm>
            <a:off x="402650" y="4733794"/>
            <a:ext cx="8768866" cy="13500"/>
          </a:xfrm>
          <a:prstGeom prst="rect">
            <a:avLst/>
          </a:prstGeom>
          <a:gradFill>
            <a:gsLst>
              <a:gs pos="0">
                <a:srgbClr val="7EB03F"/>
              </a:gs>
              <a:gs pos="100000">
                <a:srgbClr val="008EBF"/>
              </a:gs>
              <a:gs pos="39000">
                <a:srgbClr val="509E2F"/>
              </a:gs>
              <a:gs pos="76000">
                <a:srgbClr val="3B61A6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defTabSz="685732"/>
            <a:endParaRPr lang="en-US" sz="142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578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96373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88708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85989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800684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98260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57290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543251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4.vml"/><Relationship Id="rId1" Type="http://schemas.openxmlformats.org/officeDocument/2006/relationships/theme" Target="../theme/theme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tags" Target="../tags/tag8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1417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"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09D1D8-DED6-483F-B918-A4565F2D2FFE}" type="datetimeFigureOut">
              <a:rPr lang="el-GR" smtClean="0"/>
              <a:t>13/4/2022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86859D-B411-41A7-8197-0D256B99692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03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78881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"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7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7240" y="308122"/>
            <a:ext cx="8351099" cy="8048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7240" y="1112964"/>
            <a:ext cx="8351099" cy="3185999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295" y="4614421"/>
            <a:ext cx="5122280" cy="27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00">
                <a:solidFill>
                  <a:srgbClr val="7F7F7F"/>
                </a:solidFill>
              </a:defRPr>
            </a:lvl1pPr>
          </a:lstStyle>
          <a:p>
            <a:pPr defTabSz="685732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7240" y="4614421"/>
            <a:ext cx="685820" cy="27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7F7F7F"/>
                </a:solidFill>
              </a:defRPr>
            </a:lvl1pPr>
          </a:lstStyle>
          <a:p>
            <a:pPr defTabSz="685732"/>
            <a:fld id="{75A4F164-3A46-4CEE-A25C-CA523D5E42F3}" type="slidenum">
              <a:rPr lang="en-US" smtClean="0"/>
              <a:pPr defTabSz="685732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164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685800" rtl="0" eaLnBrk="1" latinLnBrk="0" hangingPunct="1">
        <a:spcBef>
          <a:spcPct val="0"/>
        </a:spcBef>
        <a:buNone/>
        <a:defRPr sz="27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4788" indent="-204788" algn="l" defTabSz="685800" rtl="0" eaLnBrk="1" latinLnBrk="0" hangingPunct="1">
        <a:spcBef>
          <a:spcPts val="0"/>
        </a:spcBef>
        <a:spcAft>
          <a:spcPts val="750"/>
        </a:spcAft>
        <a:buFont typeface="Wingdings" panose="05000000000000000000" pitchFamily="2" charset="2"/>
        <a:buChar char="§"/>
        <a:defRPr sz="165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06029" indent="-204788" algn="l" defTabSz="685800" rtl="0" eaLnBrk="1" latinLnBrk="0" hangingPunct="1">
        <a:spcBef>
          <a:spcPts val="0"/>
        </a:spcBef>
        <a:spcAft>
          <a:spcPts val="750"/>
        </a:spcAft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810816" indent="-133350" algn="l" defTabSz="685800" rtl="0" eaLnBrk="1" latinLnBrk="0" hangingPunct="1">
        <a:spcBef>
          <a:spcPts val="0"/>
        </a:spcBef>
        <a:spcAft>
          <a:spcPts val="75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077516" indent="-133350" algn="l" defTabSz="685800" rtl="0" eaLnBrk="1" latinLnBrk="0" hangingPunct="1">
        <a:spcBef>
          <a:spcPts val="0"/>
        </a:spcBef>
        <a:spcAft>
          <a:spcPts val="75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345406" indent="-134541" algn="l" defTabSz="685800" rtl="0" eaLnBrk="1" latinLnBrk="0" hangingPunct="1">
        <a:spcBef>
          <a:spcPts val="0"/>
        </a:spcBef>
        <a:spcAft>
          <a:spcPts val="75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984856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342900" eaLnBrk="1"/>
            <a:endParaRPr lang="en-GB" sz="1725" b="1" i="0" baseline="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3362" y="406775"/>
            <a:ext cx="7995504" cy="286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3362" y="1265900"/>
            <a:ext cx="7995504" cy="33287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7571" y="35124"/>
            <a:ext cx="9664222" cy="3429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59" y="4566920"/>
            <a:ext cx="9908771" cy="3429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6424" y="87802"/>
            <a:ext cx="702442" cy="2736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rgbClr val="3D5265"/>
                </a:solidFill>
                <a:latin typeface="+mn-lt"/>
              </a:defRPr>
            </a:lvl1pPr>
          </a:lstStyle>
          <a:p>
            <a:pPr defTabSz="342900"/>
            <a:fld id="{43FA586F-2B68-234B-BD61-A828857D1B43}" type="slidenum">
              <a:rPr lang="en-US" smtClean="0"/>
              <a:pPr defTabSz="34290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73362" y="4767263"/>
            <a:ext cx="3780000" cy="210161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defTabSz="342900">
              <a:defRPr/>
            </a:pPr>
            <a:r>
              <a:rPr lang="en-US" sz="788" b="1" dirty="0">
                <a:solidFill>
                  <a:srgbClr val="3B61A6"/>
                </a:solidFill>
              </a:rPr>
              <a:t>OTE</a:t>
            </a:r>
            <a:r>
              <a:rPr lang="en-US" sz="788" dirty="0">
                <a:solidFill>
                  <a:srgbClr val="3B61A6"/>
                </a:solidFill>
              </a:rPr>
              <a:t> </a:t>
            </a:r>
            <a:r>
              <a:rPr lang="en-US" sz="788" dirty="0">
                <a:solidFill>
                  <a:srgbClr val="B1B1B3"/>
                </a:solidFill>
              </a:rPr>
              <a:t>|</a:t>
            </a:r>
            <a:r>
              <a:rPr lang="en-US" sz="788" dirty="0">
                <a:solidFill>
                  <a:srgbClr val="3D5265"/>
                </a:solidFill>
              </a:rPr>
              <a:t> </a:t>
            </a:r>
            <a:r>
              <a:rPr lang="en-US" sz="788" b="1" dirty="0">
                <a:solidFill>
                  <a:srgbClr val="3D5265"/>
                </a:solidFill>
              </a:rPr>
              <a:t>BIG DATA CENTER </a:t>
            </a:r>
            <a:r>
              <a:rPr lang="en-US" sz="788" dirty="0">
                <a:solidFill>
                  <a:srgbClr val="3D5265"/>
                </a:solidFill>
              </a:rPr>
              <a:t>| </a:t>
            </a:r>
            <a:fld id="{69EA1C0F-0547-4D0F-85D5-0B31C4BCBD64}" type="datetime6">
              <a:rPr lang="en-US" sz="788" smtClean="0">
                <a:solidFill>
                  <a:srgbClr val="3D5265"/>
                </a:solidFill>
              </a:rPr>
              <a:pPr defTabSz="342900">
                <a:defRPr/>
              </a:pPr>
              <a:t>April 22</a:t>
            </a:fld>
            <a:endParaRPr lang="en-US" sz="788" dirty="0">
              <a:solidFill>
                <a:srgbClr val="3D5265"/>
              </a:solidFill>
            </a:endParaRPr>
          </a:p>
          <a:p>
            <a:pPr defTabSz="342900"/>
            <a:endParaRPr lang="el-GR" sz="788" b="1" dirty="0">
              <a:solidFill>
                <a:srgbClr val="3B61A6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710494" y="4763061"/>
            <a:ext cx="3058372" cy="292163"/>
            <a:chOff x="5710494" y="6351650"/>
            <a:chExt cx="3058372" cy="389551"/>
          </a:xfrm>
        </p:grpSpPr>
        <p:pic>
          <p:nvPicPr>
            <p:cNvPr id="8" name="Picture 52" descr="T_Logo_3c_Slogan_p_INT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0494" y="6402170"/>
              <a:ext cx="1928813" cy="287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76778" y="6351650"/>
              <a:ext cx="792088" cy="389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788621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marL="0" marR="0" indent="0" algn="l" defTabSz="3429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25" b="1" kern="1200">
          <a:solidFill>
            <a:srgbClr val="E20074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135000" indent="-135000" algn="l" defTabSz="342900" rtl="0" eaLnBrk="1" latinLnBrk="0" hangingPunct="1">
        <a:lnSpc>
          <a:spcPts val="1425"/>
        </a:lnSpc>
        <a:spcBef>
          <a:spcPts val="0"/>
        </a:spcBef>
        <a:spcAft>
          <a:spcPts val="375"/>
        </a:spcAft>
        <a:buFont typeface="Arial"/>
        <a:buChar char="•"/>
        <a:defRPr sz="1200" kern="1200">
          <a:solidFill>
            <a:srgbClr val="3D5265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1pPr>
      <a:lvl2pPr marL="266700" indent="-129779" algn="l" defTabSz="342900" rtl="0" eaLnBrk="1" latinLnBrk="0" hangingPunct="1">
        <a:lnSpc>
          <a:spcPts val="1425"/>
        </a:lnSpc>
        <a:spcBef>
          <a:spcPts val="0"/>
        </a:spcBef>
        <a:spcAft>
          <a:spcPts val="375"/>
        </a:spcAft>
        <a:buFont typeface="Arial"/>
        <a:buChar char="–"/>
        <a:defRPr sz="1200" kern="1200">
          <a:solidFill>
            <a:srgbClr val="3D5265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2pPr>
      <a:lvl3pPr marL="403622" indent="-136922" algn="l" defTabSz="342900" rtl="0" eaLnBrk="1" latinLnBrk="0" hangingPunct="1">
        <a:lnSpc>
          <a:spcPts val="1425"/>
        </a:lnSpc>
        <a:spcBef>
          <a:spcPts val="0"/>
        </a:spcBef>
        <a:spcAft>
          <a:spcPts val="375"/>
        </a:spcAft>
        <a:buFont typeface="Arial"/>
        <a:buChar char="•"/>
        <a:defRPr sz="1200" kern="1200">
          <a:solidFill>
            <a:srgbClr val="3D5265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3pPr>
      <a:lvl4pPr marL="540544" indent="-136922" algn="l" defTabSz="342900" rtl="0" eaLnBrk="1" latinLnBrk="0" hangingPunct="1">
        <a:lnSpc>
          <a:spcPts val="1425"/>
        </a:lnSpc>
        <a:spcBef>
          <a:spcPts val="0"/>
        </a:spcBef>
        <a:spcAft>
          <a:spcPts val="375"/>
        </a:spcAft>
        <a:buFont typeface="Arial"/>
        <a:buChar char="–"/>
        <a:defRPr sz="1200" kern="1200">
          <a:solidFill>
            <a:srgbClr val="3D5265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4pPr>
      <a:lvl5pPr marL="670322" indent="-129779" algn="l" defTabSz="342900" rtl="0" eaLnBrk="1" latinLnBrk="0" hangingPunct="1">
        <a:lnSpc>
          <a:spcPts val="1425"/>
        </a:lnSpc>
        <a:spcBef>
          <a:spcPts val="0"/>
        </a:spcBef>
        <a:spcAft>
          <a:spcPts val="375"/>
        </a:spcAft>
        <a:buFont typeface="Arial"/>
        <a:buChar char="»"/>
        <a:defRPr sz="1200" kern="1200">
          <a:solidFill>
            <a:srgbClr val="3D5265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0.xml"/><Relationship Id="rId7" Type="http://schemas.openxmlformats.org/officeDocument/2006/relationships/image" Target="../media/image7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4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6.xml"/><Relationship Id="rId7" Type="http://schemas.openxmlformats.org/officeDocument/2006/relationships/image" Target="../media/image7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8.xml"/><Relationship Id="rId7" Type="http://schemas.openxmlformats.org/officeDocument/2006/relationships/image" Target="../media/image7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40.xml"/><Relationship Id="rId7" Type="http://schemas.openxmlformats.org/officeDocument/2006/relationships/image" Target="../media/image7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2.xml"/><Relationship Id="rId7" Type="http://schemas.openxmlformats.org/officeDocument/2006/relationships/image" Target="../media/image7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4.xml"/><Relationship Id="rId7" Type="http://schemas.openxmlformats.org/officeDocument/2006/relationships/image" Target="../media/image7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7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12" Type="http://schemas.microsoft.com/office/2007/relationships/diagramDrawing" Target="../diagrams/drawing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3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2.xml"/><Relationship Id="rId9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8.xml"/><Relationship Id="rId7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7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2.xml"/><Relationship Id="rId7" Type="http://schemas.openxmlformats.org/officeDocument/2006/relationships/image" Target="../media/image7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6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807102"/>
              </p:ext>
            </p:ext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0888" y="11832"/>
            <a:ext cx="6842224" cy="5131668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923928" y="4587974"/>
            <a:ext cx="1296144" cy="2880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pril 2022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5134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en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8" name="Table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8160249"/>
              </p:ext>
            </p:extLst>
          </p:nvPr>
        </p:nvGraphicFramePr>
        <p:xfrm>
          <a:off x="1536473" y="1203598"/>
          <a:ext cx="6275887" cy="185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55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6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Scope and Objectives </a:t>
                      </a:r>
                      <a:endParaRPr lang="el-GR" sz="1800" b="1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 Segmentation Proces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 Key Findings</a:t>
                      </a:r>
                      <a:endParaRPr lang="el-GR" sz="1800" b="1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 Segmentation  Result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53065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ustering Output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9840" y="578375"/>
            <a:ext cx="1689714" cy="886529"/>
            <a:chOff x="1228323" y="1497989"/>
            <a:chExt cx="1689714" cy="886529"/>
          </a:xfrm>
        </p:grpSpPr>
        <p:sp>
          <p:nvSpPr>
            <p:cNvPr id="35" name="Rectangle 34"/>
            <p:cNvSpPr/>
            <p:nvPr/>
          </p:nvSpPr>
          <p:spPr>
            <a:xfrm>
              <a:off x="1430760" y="1821816"/>
              <a:ext cx="198303" cy="110169"/>
            </a:xfrm>
            <a:prstGeom prst="rect">
              <a:avLst/>
            </a:prstGeom>
            <a:solidFill>
              <a:srgbClr val="3B61A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430759" y="2024101"/>
              <a:ext cx="198303" cy="110169"/>
            </a:xfrm>
            <a:prstGeom prst="rect">
              <a:avLst/>
            </a:prstGeom>
            <a:solidFill>
              <a:srgbClr val="EA5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430760" y="2226385"/>
              <a:ext cx="198303" cy="110169"/>
            </a:xfrm>
            <a:prstGeom prst="rect">
              <a:avLst/>
            </a:prstGeom>
            <a:solidFill>
              <a:srgbClr val="009A4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629063" y="1769178"/>
              <a:ext cx="121310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tainment Seek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629063" y="1971463"/>
              <a:ext cx="128897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cerned Us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29063" y="2169074"/>
              <a:ext cx="8771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id Support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228323" y="1497989"/>
              <a:ext cx="12779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3</a:t>
              </a:r>
              <a:r>
                <a:rPr lang="el-GR" sz="1200" b="1" dirty="0"/>
                <a:t> </a:t>
              </a:r>
              <a:r>
                <a:rPr lang="en-US" sz="1200" b="1" dirty="0"/>
                <a:t>Segments:</a:t>
              </a:r>
              <a:endParaRPr lang="el-GR" sz="1200" b="1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46274" y="3802746"/>
            <a:ext cx="2272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Customer ba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~800 GR customers excl. October 2021 &amp; inactive users</a:t>
            </a:r>
            <a:endParaRPr lang="el-GR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1E32CA-F376-4A99-BBBB-453C5616C6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39554" y="1146162"/>
            <a:ext cx="6814570" cy="266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355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111C5565-5229-4182-95CD-3417EB04C2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ustering Output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9840" y="578375"/>
            <a:ext cx="1689714" cy="886529"/>
            <a:chOff x="1228323" y="1497989"/>
            <a:chExt cx="1689714" cy="886529"/>
          </a:xfrm>
        </p:grpSpPr>
        <p:sp>
          <p:nvSpPr>
            <p:cNvPr id="35" name="Rectangle 34"/>
            <p:cNvSpPr/>
            <p:nvPr/>
          </p:nvSpPr>
          <p:spPr>
            <a:xfrm>
              <a:off x="1430760" y="1821816"/>
              <a:ext cx="198303" cy="110169"/>
            </a:xfrm>
            <a:prstGeom prst="rect">
              <a:avLst/>
            </a:prstGeom>
            <a:solidFill>
              <a:srgbClr val="3B61A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430759" y="2024101"/>
              <a:ext cx="198303" cy="110169"/>
            </a:xfrm>
            <a:prstGeom prst="rect">
              <a:avLst/>
            </a:prstGeom>
            <a:solidFill>
              <a:srgbClr val="EA5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430760" y="2226385"/>
              <a:ext cx="198303" cy="110169"/>
            </a:xfrm>
            <a:prstGeom prst="rect">
              <a:avLst/>
            </a:prstGeom>
            <a:solidFill>
              <a:srgbClr val="009A4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629063" y="1769178"/>
              <a:ext cx="121310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tainment Seek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629063" y="1971463"/>
              <a:ext cx="128897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cerned Us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29063" y="2169074"/>
              <a:ext cx="8771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id Support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228323" y="1497989"/>
              <a:ext cx="12779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3</a:t>
              </a:r>
              <a:r>
                <a:rPr lang="el-GR" sz="1200" b="1" dirty="0"/>
                <a:t> </a:t>
              </a:r>
              <a:r>
                <a:rPr lang="en-US" sz="1200" b="1" dirty="0"/>
                <a:t>Segments:</a:t>
              </a:r>
              <a:endParaRPr lang="el-GR" sz="1200" b="1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A1E32CA-F376-4A99-BBBB-453C5616C6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39554" y="1146162"/>
            <a:ext cx="6814570" cy="26697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A7101DD-0792-4340-B6A4-3E939D43A2FB}"/>
              </a:ext>
            </a:extLst>
          </p:cNvPr>
          <p:cNvSpPr txBox="1"/>
          <p:nvPr/>
        </p:nvSpPr>
        <p:spPr>
          <a:xfrm>
            <a:off x="2267744" y="4155926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eavy users seem to be older on average than the r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eavy users are longer with the company on average</a:t>
            </a:r>
            <a:endParaRPr lang="el-GR" sz="1200" dirty="0"/>
          </a:p>
        </p:txBody>
      </p:sp>
    </p:spTree>
    <p:extLst>
      <p:ext uri="{BB962C8B-B14F-4D97-AF65-F5344CB8AC3E}">
        <p14:creationId xmlns:p14="http://schemas.microsoft.com/office/powerpoint/2010/main" val="37075725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111C5565-5229-4182-95CD-3417EB04C2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ustering Output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9840" y="578375"/>
            <a:ext cx="1689714" cy="886529"/>
            <a:chOff x="1228323" y="1497989"/>
            <a:chExt cx="1689714" cy="886529"/>
          </a:xfrm>
        </p:grpSpPr>
        <p:sp>
          <p:nvSpPr>
            <p:cNvPr id="35" name="Rectangle 34"/>
            <p:cNvSpPr/>
            <p:nvPr/>
          </p:nvSpPr>
          <p:spPr>
            <a:xfrm>
              <a:off x="1430760" y="1821816"/>
              <a:ext cx="198303" cy="110169"/>
            </a:xfrm>
            <a:prstGeom prst="rect">
              <a:avLst/>
            </a:prstGeom>
            <a:solidFill>
              <a:srgbClr val="3B61A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430759" y="2024101"/>
              <a:ext cx="198303" cy="110169"/>
            </a:xfrm>
            <a:prstGeom prst="rect">
              <a:avLst/>
            </a:prstGeom>
            <a:solidFill>
              <a:srgbClr val="EA5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430760" y="2226385"/>
              <a:ext cx="198303" cy="110169"/>
            </a:xfrm>
            <a:prstGeom prst="rect">
              <a:avLst/>
            </a:prstGeom>
            <a:solidFill>
              <a:srgbClr val="009A4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b="1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629063" y="1769178"/>
              <a:ext cx="121310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tainment Seek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629063" y="1971463"/>
              <a:ext cx="128897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cerned Us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29063" y="2169074"/>
              <a:ext cx="8771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accent5">
                      <a:lumMod val="1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id Supporters</a:t>
              </a:r>
              <a:endParaRPr lang="el-GR" sz="800" b="1" dirty="0">
                <a:solidFill>
                  <a:schemeClr val="accent5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228323" y="1497989"/>
              <a:ext cx="12779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3</a:t>
              </a:r>
              <a:r>
                <a:rPr lang="el-GR" sz="1200" b="1" dirty="0"/>
                <a:t> </a:t>
              </a:r>
              <a:r>
                <a:rPr lang="en-US" sz="1200" b="1" dirty="0"/>
                <a:t>Segments:</a:t>
              </a:r>
              <a:endParaRPr lang="el-GR" sz="1200" b="1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A1E32CA-F376-4A99-BBBB-453C5616C6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84237" y="1146162"/>
            <a:ext cx="4125203" cy="26697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A7101DD-0792-4340-B6A4-3E939D43A2FB}"/>
              </a:ext>
            </a:extLst>
          </p:cNvPr>
          <p:cNvSpPr txBox="1"/>
          <p:nvPr/>
        </p:nvSpPr>
        <p:spPr>
          <a:xfrm>
            <a:off x="2267744" y="4155926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eavy users seem to be older on average than the r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eavy users are longer with the company on average</a:t>
            </a:r>
            <a:endParaRPr lang="el-GR" sz="1200" dirty="0"/>
          </a:p>
        </p:txBody>
      </p:sp>
    </p:spTree>
    <p:extLst>
      <p:ext uri="{BB962C8B-B14F-4D97-AF65-F5344CB8AC3E}">
        <p14:creationId xmlns:p14="http://schemas.microsoft.com/office/powerpoint/2010/main" val="3866104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eptember 2021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4751927"/>
              </p:ext>
            </p:extLst>
          </p:nvPr>
        </p:nvGraphicFramePr>
        <p:xfrm>
          <a:off x="1327397" y="1275606"/>
          <a:ext cx="6489206" cy="876300"/>
        </p:xfrm>
        <a:graphic>
          <a:graphicData uri="http://schemas.openxmlformats.org/drawingml/2006/table">
            <a:tbl>
              <a:tblPr/>
              <a:tblGrid>
                <a:gridCol w="315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1096900041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91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07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059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86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ctr"/>
                      <a:endParaRPr lang="el-GR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cenc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nu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osit Amou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ithdrawal Amou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f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1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1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1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.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4788024" y="3010151"/>
            <a:ext cx="373471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Calibri" panose="020F0502020204030204" pitchFamily="34" charset="0"/>
                <a:cs typeface="Calibri" panose="020F0502020204030204" pitchFamily="34" charset="0"/>
              </a:rPr>
              <a:t>Avid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b="1" dirty="0">
                <a:latin typeface="Calibri" panose="020F0502020204030204" pitchFamily="34" charset="0"/>
                <a:cs typeface="Calibri" panose="020F0502020204030204" pitchFamily="34" charset="0"/>
              </a:rPr>
              <a:t>Supporters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is by far the most abundant segment followed by </a:t>
            </a:r>
            <a:r>
              <a:rPr lang="en-US" sz="1100" b="1" dirty="0">
                <a:latin typeface="Calibri" panose="020F0502020204030204" pitchFamily="34" charset="0"/>
                <a:cs typeface="Calibri" panose="020F0502020204030204" pitchFamily="34" charset="0"/>
              </a:rPr>
              <a:t>Concerned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Calibri" panose="020F0502020204030204" pitchFamily="34" charset="0"/>
                <a:cs typeface="Calibri" panose="020F0502020204030204" pitchFamily="34" charset="0"/>
              </a:rPr>
              <a:t>Avid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b="1" dirty="0">
                <a:latin typeface="Calibri" panose="020F0502020204030204" pitchFamily="34" charset="0"/>
                <a:cs typeface="Calibri" panose="020F0502020204030204" pitchFamily="34" charset="0"/>
              </a:rPr>
              <a:t>Supporters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, although a small one, is the most valuable segment, when it comes to pretty much every inflow action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3E859F2-5FA9-4CFE-BBA1-8F289FC16D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9035384"/>
              </p:ext>
            </p:extLst>
          </p:nvPr>
        </p:nvGraphicFramePr>
        <p:xfrm>
          <a:off x="899592" y="2469757"/>
          <a:ext cx="3564718" cy="2019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115642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Avid Supporte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40061" y="694978"/>
            <a:ext cx="31027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ery high revenu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ery high frequ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ery low rec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Long tenur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Older ag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187624" y="694979"/>
            <a:ext cx="6740690" cy="4027238"/>
          </a:xfrm>
          <a:prstGeom prst="rect">
            <a:avLst/>
          </a:prstGeom>
          <a:noFill/>
          <a:ln w="12700" cap="flat" cmpd="sng" algn="ctr">
            <a:solidFill>
              <a:srgbClr val="A4A4A4"/>
            </a:solidFill>
            <a:prstDash val="solid"/>
            <a:miter lim="800000"/>
          </a:ln>
          <a:effectLst/>
        </p:spPr>
        <p:txBody>
          <a:bodyPr lIns="108000" tIns="81000" rIns="108000" bIns="108000" anchor="t"/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973805"/>
              </p:ext>
            </p:extLst>
          </p:nvPr>
        </p:nvGraphicFramePr>
        <p:xfrm>
          <a:off x="1490825" y="3363838"/>
          <a:ext cx="2937764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782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53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9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Size 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≈ 2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/>
                        <a:t>Avg. Profit</a:t>
                      </a:r>
                      <a:endParaRPr lang="el-GR" sz="12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.489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Revenu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66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78" t="45917" r="51716" b="-1246"/>
          <a:stretch/>
        </p:blipFill>
        <p:spPr>
          <a:xfrm>
            <a:off x="6116361" y="1234686"/>
            <a:ext cx="933899" cy="160611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187624" y="742866"/>
            <a:ext cx="13612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eavy Users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312119"/>
              </p:ext>
            </p:extLst>
          </p:nvPr>
        </p:nvGraphicFramePr>
        <p:xfrm>
          <a:off x="4590730" y="3357231"/>
          <a:ext cx="2933598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77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3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052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Frequency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117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Ag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0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enure (Days)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237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310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Entertainment Seeker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40061" y="692587"/>
            <a:ext cx="31027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Moderate revenu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Medium frequ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ery low rec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Medium/long tenur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Age on the young sid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187624" y="692588"/>
            <a:ext cx="6740690" cy="4027238"/>
          </a:xfrm>
          <a:prstGeom prst="rect">
            <a:avLst/>
          </a:prstGeom>
          <a:noFill/>
          <a:ln w="12700" cap="flat" cmpd="sng" algn="ctr">
            <a:solidFill>
              <a:srgbClr val="A4A4A4"/>
            </a:solidFill>
            <a:prstDash val="solid"/>
            <a:miter lim="800000"/>
          </a:ln>
          <a:effectLst/>
        </p:spPr>
        <p:txBody>
          <a:bodyPr lIns="108000" tIns="81000" rIns="108000" bIns="108000" anchor="t"/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691039"/>
              </p:ext>
            </p:extLst>
          </p:nvPr>
        </p:nvGraphicFramePr>
        <p:xfrm>
          <a:off x="1547664" y="3362959"/>
          <a:ext cx="2937764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782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53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18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Size 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≈ 37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/>
                        <a:t>Avg. Profit</a:t>
                      </a:r>
                      <a:endParaRPr lang="el-GR" sz="12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883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Revenu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100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Rectangle 22"/>
          <p:cNvSpPr/>
          <p:nvPr/>
        </p:nvSpPr>
        <p:spPr>
          <a:xfrm>
            <a:off x="1187624" y="740475"/>
            <a:ext cx="1497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gular Users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637025"/>
              </p:ext>
            </p:extLst>
          </p:nvPr>
        </p:nvGraphicFramePr>
        <p:xfrm>
          <a:off x="4771866" y="3362959"/>
          <a:ext cx="2864385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737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65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052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Frequency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5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Ag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33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enure (Days)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229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4" t="-1" r="78233" b="81"/>
          <a:stretch/>
        </p:blipFill>
        <p:spPr>
          <a:xfrm>
            <a:off x="5982765" y="1408257"/>
            <a:ext cx="775323" cy="142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2416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cerned Users</a:t>
            </a:r>
          </a:p>
          <a:p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40061" y="692587"/>
            <a:ext cx="31027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Low revenu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ery low frequ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Higher recency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Low/medium tenure</a:t>
            </a: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Age young/older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87624" y="692588"/>
            <a:ext cx="6740690" cy="4027238"/>
          </a:xfrm>
          <a:prstGeom prst="rect">
            <a:avLst/>
          </a:prstGeom>
          <a:noFill/>
          <a:ln w="12700" cap="flat" cmpd="sng" algn="ctr">
            <a:solidFill>
              <a:srgbClr val="A4A4A4"/>
            </a:solidFill>
            <a:prstDash val="solid"/>
            <a:miter lim="800000"/>
          </a:ln>
          <a:effectLst/>
        </p:spPr>
        <p:txBody>
          <a:bodyPr lIns="108000" tIns="81000" rIns="108000" bIns="108000" anchor="t"/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solidFill>
                <a:srgbClr val="3D52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4069617"/>
              </p:ext>
            </p:extLst>
          </p:nvPr>
        </p:nvGraphicFramePr>
        <p:xfrm>
          <a:off x="1547664" y="3397106"/>
          <a:ext cx="2937764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782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53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18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Size 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ele-GroteskNor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≈ 61%</a:t>
                      </a:r>
                      <a:endParaRPr lang="el-GR" sz="12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/>
                        <a:t>Avg. Profit</a:t>
                      </a:r>
                      <a:endParaRPr lang="el-GR" sz="12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1.482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Revenu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18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" name="Rectangle 19"/>
          <p:cNvSpPr/>
          <p:nvPr/>
        </p:nvSpPr>
        <p:spPr>
          <a:xfrm>
            <a:off x="1187624" y="740475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luctant Users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643241"/>
              </p:ext>
            </p:extLst>
          </p:nvPr>
        </p:nvGraphicFramePr>
        <p:xfrm>
          <a:off x="4897560" y="3408116"/>
          <a:ext cx="2727673" cy="823746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6549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052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Frequency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11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g. Age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33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enure (Days)</a:t>
                      </a:r>
                      <a:endParaRPr lang="el-GR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217</a:t>
                      </a:r>
                      <a:endParaRPr lang="el-GR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38" marR="68538" marT="45851" marB="458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00" t="996" r="34243"/>
          <a:stretch/>
        </p:blipFill>
        <p:spPr>
          <a:xfrm>
            <a:off x="5932444" y="1315990"/>
            <a:ext cx="875966" cy="1606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702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111C5565-5229-4182-95CD-3417EB04C2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3" name="Picture 2" descr="Chart, funnel chart&#10;&#10;Description automatically generated">
            <a:extLst>
              <a:ext uri="{FF2B5EF4-FFF2-40B4-BE49-F238E27FC236}">
                <a16:creationId xmlns:a16="http://schemas.microsoft.com/office/drawing/2014/main" id="{C3465C81-342E-4226-950C-E7D96A3015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72" y="2784821"/>
            <a:ext cx="6732240" cy="225828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DD30AD27-BB38-4B01-BA14-5CBFEA39F1ED}"/>
              </a:ext>
            </a:extLst>
          </p:cNvPr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V Prediction – October 2021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419A1D5-BE4D-44F2-B9B9-262D272FE5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833703"/>
              </p:ext>
            </p:extLst>
          </p:nvPr>
        </p:nvGraphicFramePr>
        <p:xfrm>
          <a:off x="813872" y="1031951"/>
          <a:ext cx="3960439" cy="1333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5807">
                  <a:extLst>
                    <a:ext uri="{9D8B030D-6E8A-4147-A177-3AD203B41FA5}">
                      <a16:colId xmlns:a16="http://schemas.microsoft.com/office/drawing/2014/main" val="2734222862"/>
                    </a:ext>
                  </a:extLst>
                </a:gridCol>
                <a:gridCol w="731158">
                  <a:extLst>
                    <a:ext uri="{9D8B030D-6E8A-4147-A177-3AD203B41FA5}">
                      <a16:colId xmlns:a16="http://schemas.microsoft.com/office/drawing/2014/main" val="1958422921"/>
                    </a:ext>
                  </a:extLst>
                </a:gridCol>
                <a:gridCol w="731158">
                  <a:extLst>
                    <a:ext uri="{9D8B030D-6E8A-4147-A177-3AD203B41FA5}">
                      <a16:colId xmlns:a16="http://schemas.microsoft.com/office/drawing/2014/main" val="3738488920"/>
                    </a:ext>
                  </a:extLst>
                </a:gridCol>
                <a:gridCol w="731158">
                  <a:extLst>
                    <a:ext uri="{9D8B030D-6E8A-4147-A177-3AD203B41FA5}">
                      <a16:colId xmlns:a16="http://schemas.microsoft.com/office/drawing/2014/main" val="4142781550"/>
                    </a:ext>
                  </a:extLst>
                </a:gridCol>
                <a:gridCol w="731158">
                  <a:extLst>
                    <a:ext uri="{9D8B030D-6E8A-4147-A177-3AD203B41FA5}">
                      <a16:colId xmlns:a16="http://schemas.microsoft.com/office/drawing/2014/main" val="25699426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endParaRPr lang="el-G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cisio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call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1-Sco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uppo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4530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  <a:endParaRPr lang="el-G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0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0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0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17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35425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d</a:t>
                      </a:r>
                      <a:endParaRPr lang="el-G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73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94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82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>
                          <a:effectLst/>
                        </a:rPr>
                        <a:t>98</a:t>
                      </a:r>
                      <a:endParaRPr lang="el-G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4521019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igh</a:t>
                      </a:r>
                      <a:endParaRPr lang="el-G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>
                          <a:effectLst/>
                        </a:rPr>
                        <a:t>0.58</a:t>
                      </a:r>
                      <a:endParaRPr lang="el-G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4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47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35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75517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ccuracy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l-G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71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15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99710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cro avg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44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45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43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15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07437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eighted avg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61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>
                          <a:effectLst/>
                        </a:rPr>
                        <a:t>0.71</a:t>
                      </a:r>
                      <a:endParaRPr lang="el-G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0.65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u="none" strike="noStrike" dirty="0">
                          <a:effectLst/>
                        </a:rPr>
                        <a:t>150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6059222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2278494-F4A2-4CCA-AE25-BCEA729C92D4}"/>
              </a:ext>
            </a:extLst>
          </p:cNvPr>
          <p:cNvSpPr txBox="1"/>
          <p:nvPr/>
        </p:nvSpPr>
        <p:spPr>
          <a:xfrm>
            <a:off x="5076056" y="1125186"/>
            <a:ext cx="31027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Prediction model manages to predict quite well CLV of mid class users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858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Prediction of high and low value customers needs more data to produce better results since the sample is quite small</a:t>
            </a:r>
          </a:p>
        </p:txBody>
      </p:sp>
    </p:spTree>
    <p:extLst>
      <p:ext uri="{BB962C8B-B14F-4D97-AF65-F5344CB8AC3E}">
        <p14:creationId xmlns:p14="http://schemas.microsoft.com/office/powerpoint/2010/main" val="15951497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3923928" y="2289007"/>
            <a:ext cx="1584176" cy="565485"/>
          </a:xfrm>
          <a:prstGeom prst="rect">
            <a:avLst/>
          </a:prstGeom>
        </p:spPr>
        <p:txBody>
          <a:bodyPr vert="horz" lIns="0" tIns="0" rIns="0" bIns="0" numCol="2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4213793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en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8" name="Table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5134638"/>
              </p:ext>
            </p:extLst>
          </p:nvPr>
        </p:nvGraphicFramePr>
        <p:xfrm>
          <a:off x="1536473" y="1203598"/>
          <a:ext cx="6275887" cy="185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55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6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347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en-US" sz="1800" b="1" kern="120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cope and Objectives </a:t>
                      </a:r>
                      <a:endParaRPr lang="el-GR" sz="1800" b="1" kern="12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 Segmentation Proces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r>
                        <a:rPr lang="en-US" sz="18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</a:t>
                      </a:r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ey Findings</a:t>
                      </a:r>
                      <a:endParaRPr lang="el-GR" sz="1800" b="1" dirty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8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</a:t>
                      </a:r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gmentation  Result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9872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48343" y="96892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egmentation: Objective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272857671"/>
              </p:ext>
            </p:extLst>
          </p:nvPr>
        </p:nvGraphicFramePr>
        <p:xfrm>
          <a:off x="1187624" y="843558"/>
          <a:ext cx="6781935" cy="34422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4287586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en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9" name="Table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785790"/>
              </p:ext>
            </p:extLst>
          </p:nvPr>
        </p:nvGraphicFramePr>
        <p:xfrm>
          <a:off x="1536473" y="1203598"/>
          <a:ext cx="6275887" cy="185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55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6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Scope and Objectives </a:t>
                      </a:r>
                      <a:endParaRPr lang="el-GR" sz="1800" b="1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1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 Segmentation Proces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r>
                        <a:rPr lang="en-US" sz="18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</a:t>
                      </a:r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ey Findings</a:t>
                      </a:r>
                      <a:endParaRPr lang="el-GR" sz="1800" b="1" dirty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8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</a:t>
                      </a:r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gmentation  Result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253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15" name="Picture 2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3654" y="4719826"/>
            <a:ext cx="398514" cy="302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5" name="Group 124"/>
          <p:cNvGrpSpPr/>
          <p:nvPr/>
        </p:nvGrpSpPr>
        <p:grpSpPr>
          <a:xfrm rot="5400000">
            <a:off x="3773886" y="177116"/>
            <a:ext cx="1596228" cy="3864128"/>
            <a:chOff x="6519797" y="2886846"/>
            <a:chExt cx="1596228" cy="3864128"/>
          </a:xfrm>
          <a:effectLst>
            <a:outerShdw blurRad="63500" sx="101000" sy="101000" algn="ctr" rotWithShape="0">
              <a:prstClr val="black">
                <a:alpha val="25000"/>
              </a:prstClr>
            </a:outerShdw>
          </a:effectLst>
        </p:grpSpPr>
        <p:grpSp>
          <p:nvGrpSpPr>
            <p:cNvPr id="126" name="Group 125"/>
            <p:cNvGrpSpPr/>
            <p:nvPr/>
          </p:nvGrpSpPr>
          <p:grpSpPr>
            <a:xfrm>
              <a:off x="6519797" y="2886846"/>
              <a:ext cx="1596228" cy="3864128"/>
              <a:chOff x="6045564" y="3226986"/>
              <a:chExt cx="1792219" cy="4338581"/>
            </a:xfrm>
            <a:scene3d>
              <a:camera prst="orthographicFront"/>
              <a:lightRig rig="threePt" dir="t"/>
            </a:scene3d>
          </p:grpSpPr>
          <p:sp>
            <p:nvSpPr>
              <p:cNvPr id="130" name="Rectangle 5"/>
              <p:cNvSpPr/>
              <p:nvPr/>
            </p:nvSpPr>
            <p:spPr>
              <a:xfrm flipV="1">
                <a:off x="6213669" y="3226986"/>
                <a:ext cx="1448109" cy="1792218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9564" h="2561350">
                    <a:moveTo>
                      <a:pt x="1028762" y="3"/>
                    </a:moveTo>
                    <a:cubicBezTo>
                      <a:pt x="1197831" y="-691"/>
                      <a:pt x="1365814" y="120921"/>
                      <a:pt x="1243075" y="286050"/>
                    </a:cubicBezTo>
                    <a:cubicBezTo>
                      <a:pt x="1226965" y="315682"/>
                      <a:pt x="1215183" y="348101"/>
                      <a:pt x="1220939" y="389002"/>
                    </a:cubicBezTo>
                    <a:cubicBezTo>
                      <a:pt x="1226007" y="528261"/>
                      <a:pt x="1696102" y="461119"/>
                      <a:pt x="1959793" y="361648"/>
                    </a:cubicBezTo>
                    <a:cubicBezTo>
                      <a:pt x="2053648" y="496394"/>
                      <a:pt x="2070837" y="822506"/>
                      <a:pt x="2067556" y="961234"/>
                    </a:cubicBezTo>
                    <a:cubicBezTo>
                      <a:pt x="2071425" y="1080232"/>
                      <a:pt x="2014728" y="1106744"/>
                      <a:pt x="1881048" y="1030865"/>
                    </a:cubicBezTo>
                    <a:cubicBezTo>
                      <a:pt x="1483772" y="845572"/>
                      <a:pt x="1585020" y="1699608"/>
                      <a:pt x="1847373" y="1535481"/>
                    </a:cubicBezTo>
                    <a:cubicBezTo>
                      <a:pt x="1929125" y="1495441"/>
                      <a:pt x="2055039" y="1373504"/>
                      <a:pt x="2065070" y="1597847"/>
                    </a:cubicBezTo>
                    <a:cubicBezTo>
                      <a:pt x="2080077" y="1677957"/>
                      <a:pt x="2061145" y="2086235"/>
                      <a:pt x="1952333" y="2180265"/>
                    </a:cubicBezTo>
                    <a:cubicBezTo>
                      <a:pt x="1755709" y="2153739"/>
                      <a:pt x="1373407" y="2007849"/>
                      <a:pt x="1223202" y="2167002"/>
                    </a:cubicBezTo>
                    <a:cubicBezTo>
                      <a:pt x="1209721" y="2193452"/>
                      <a:pt x="1212523" y="2230274"/>
                      <a:pt x="1243075" y="2275300"/>
                    </a:cubicBezTo>
                    <a:cubicBezTo>
                      <a:pt x="1483581" y="2660267"/>
                      <a:pt x="581086" y="2652331"/>
                      <a:pt x="793019" y="2277680"/>
                    </a:cubicBezTo>
                    <a:cubicBezTo>
                      <a:pt x="831994" y="2223379"/>
                      <a:pt x="839802" y="2190096"/>
                      <a:pt x="822952" y="2167002"/>
                    </a:cubicBezTo>
                    <a:cubicBezTo>
                      <a:pt x="720184" y="2021111"/>
                      <a:pt x="378685" y="2147108"/>
                      <a:pt x="130027" y="2200159"/>
                    </a:cubicBezTo>
                    <a:cubicBezTo>
                      <a:pt x="37391" y="2130168"/>
                      <a:pt x="-7600" y="1771407"/>
                      <a:pt x="1050" y="1657531"/>
                    </a:cubicBezTo>
                    <a:cubicBezTo>
                      <a:pt x="24620" y="1416831"/>
                      <a:pt x="117773" y="1502066"/>
                      <a:pt x="271446" y="1561668"/>
                    </a:cubicBezTo>
                    <a:cubicBezTo>
                      <a:pt x="483628" y="1635999"/>
                      <a:pt x="591036" y="1022800"/>
                      <a:pt x="249172" y="1045298"/>
                    </a:cubicBezTo>
                    <a:cubicBezTo>
                      <a:pt x="168463" y="1050498"/>
                      <a:pt x="31683" y="1183628"/>
                      <a:pt x="8510" y="1018431"/>
                    </a:cubicBezTo>
                    <a:cubicBezTo>
                      <a:pt x="-14663" y="907943"/>
                      <a:pt x="13766" y="478572"/>
                      <a:pt x="110133" y="382371"/>
                    </a:cubicBezTo>
                    <a:cubicBezTo>
                      <a:pt x="506339" y="514999"/>
                      <a:pt x="789812" y="488473"/>
                      <a:pt x="827923" y="389002"/>
                    </a:cubicBezTo>
                    <a:cubicBezTo>
                      <a:pt x="838244" y="365427"/>
                      <a:pt x="828672" y="333342"/>
                      <a:pt x="793019" y="283670"/>
                    </a:cubicBezTo>
                    <a:cubicBezTo>
                      <a:pt x="687053" y="96344"/>
                      <a:pt x="859693" y="698"/>
                      <a:pt x="1028762" y="3"/>
                    </a:cubicBezTo>
                    <a:close/>
                  </a:path>
                </a:pathLst>
              </a:custGeom>
              <a:solidFill>
                <a:srgbClr val="6C6C6C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Rectangle 5"/>
              <p:cNvSpPr/>
              <p:nvPr/>
            </p:nvSpPr>
            <p:spPr>
              <a:xfrm rot="5400000">
                <a:off x="6227768" y="4496805"/>
                <a:ext cx="1427811" cy="1792219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362 w 2069164"/>
                  <a:gd name="connsiteY0" fmla="*/ 3 h 2561350"/>
                  <a:gd name="connsiteX1" fmla="*/ 1242675 w 2069164"/>
                  <a:gd name="connsiteY1" fmla="*/ 286050 h 2561350"/>
                  <a:gd name="connsiteX2" fmla="*/ 1220539 w 2069164"/>
                  <a:gd name="connsiteY2" fmla="*/ 389002 h 2561350"/>
                  <a:gd name="connsiteX3" fmla="*/ 1959393 w 2069164"/>
                  <a:gd name="connsiteY3" fmla="*/ 361648 h 2561350"/>
                  <a:gd name="connsiteX4" fmla="*/ 2067156 w 2069164"/>
                  <a:gd name="connsiteY4" fmla="*/ 961234 h 2561350"/>
                  <a:gd name="connsiteX5" fmla="*/ 1880648 w 2069164"/>
                  <a:gd name="connsiteY5" fmla="*/ 1030865 h 2561350"/>
                  <a:gd name="connsiteX6" fmla="*/ 1846973 w 2069164"/>
                  <a:gd name="connsiteY6" fmla="*/ 1535481 h 2561350"/>
                  <a:gd name="connsiteX7" fmla="*/ 2064670 w 2069164"/>
                  <a:gd name="connsiteY7" fmla="*/ 1597847 h 2561350"/>
                  <a:gd name="connsiteX8" fmla="*/ 1951933 w 2069164"/>
                  <a:gd name="connsiteY8" fmla="*/ 2180265 h 2561350"/>
                  <a:gd name="connsiteX9" fmla="*/ 1222802 w 2069164"/>
                  <a:gd name="connsiteY9" fmla="*/ 2167002 h 2561350"/>
                  <a:gd name="connsiteX10" fmla="*/ 1242675 w 2069164"/>
                  <a:gd name="connsiteY10" fmla="*/ 2275300 h 2561350"/>
                  <a:gd name="connsiteX11" fmla="*/ 792619 w 2069164"/>
                  <a:gd name="connsiteY11" fmla="*/ 2277680 h 2561350"/>
                  <a:gd name="connsiteX12" fmla="*/ 822552 w 2069164"/>
                  <a:gd name="connsiteY12" fmla="*/ 2167002 h 2561350"/>
                  <a:gd name="connsiteX13" fmla="*/ 129627 w 2069164"/>
                  <a:gd name="connsiteY13" fmla="*/ 2200159 h 2561350"/>
                  <a:gd name="connsiteX14" fmla="*/ 650 w 2069164"/>
                  <a:gd name="connsiteY14" fmla="*/ 1657531 h 2561350"/>
                  <a:gd name="connsiteX15" fmla="*/ 258083 w 2069164"/>
                  <a:gd name="connsiteY15" fmla="*/ 1557347 h 2561350"/>
                  <a:gd name="connsiteX16" fmla="*/ 270377 w 2069164"/>
                  <a:gd name="connsiteY16" fmla="*/ 1028015 h 2561350"/>
                  <a:gd name="connsiteX17" fmla="*/ 29715 w 2069164"/>
                  <a:gd name="connsiteY17" fmla="*/ 1005469 h 2561350"/>
                  <a:gd name="connsiteX18" fmla="*/ 109733 w 2069164"/>
                  <a:gd name="connsiteY18" fmla="*/ 382371 h 2561350"/>
                  <a:gd name="connsiteX19" fmla="*/ 827523 w 2069164"/>
                  <a:gd name="connsiteY19" fmla="*/ 389002 h 2561350"/>
                  <a:gd name="connsiteX20" fmla="*/ 792619 w 2069164"/>
                  <a:gd name="connsiteY20" fmla="*/ 283670 h 2561350"/>
                  <a:gd name="connsiteX21" fmla="*/ 1028362 w 206916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64020 w 2066875"/>
                  <a:gd name="connsiteY7" fmla="*/ 1597847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952"/>
                  <a:gd name="connsiteY0" fmla="*/ 3 h 2561350"/>
                  <a:gd name="connsiteX1" fmla="*/ 1242025 w 2066952"/>
                  <a:gd name="connsiteY1" fmla="*/ 286050 h 2561350"/>
                  <a:gd name="connsiteX2" fmla="*/ 1219889 w 2066952"/>
                  <a:gd name="connsiteY2" fmla="*/ 389002 h 2561350"/>
                  <a:gd name="connsiteX3" fmla="*/ 1963063 w 2066952"/>
                  <a:gd name="connsiteY3" fmla="*/ 357327 h 2561350"/>
                  <a:gd name="connsiteX4" fmla="*/ 2066506 w 2066952"/>
                  <a:gd name="connsiteY4" fmla="*/ 961234 h 2561350"/>
                  <a:gd name="connsiteX5" fmla="*/ 1862717 w 2066952"/>
                  <a:gd name="connsiteY5" fmla="*/ 1056790 h 2561350"/>
                  <a:gd name="connsiteX6" fmla="*/ 1824721 w 2066952"/>
                  <a:gd name="connsiteY6" fmla="*/ 1531159 h 2561350"/>
                  <a:gd name="connsiteX7" fmla="*/ 2042416 w 2066952"/>
                  <a:gd name="connsiteY7" fmla="*/ 1619452 h 2561350"/>
                  <a:gd name="connsiteX8" fmla="*/ 1951283 w 2066952"/>
                  <a:gd name="connsiteY8" fmla="*/ 2180265 h 2561350"/>
                  <a:gd name="connsiteX9" fmla="*/ 1222152 w 2066952"/>
                  <a:gd name="connsiteY9" fmla="*/ 2167002 h 2561350"/>
                  <a:gd name="connsiteX10" fmla="*/ 1242025 w 2066952"/>
                  <a:gd name="connsiteY10" fmla="*/ 2275300 h 2561350"/>
                  <a:gd name="connsiteX11" fmla="*/ 791969 w 2066952"/>
                  <a:gd name="connsiteY11" fmla="*/ 2277680 h 2561350"/>
                  <a:gd name="connsiteX12" fmla="*/ 821902 w 2066952"/>
                  <a:gd name="connsiteY12" fmla="*/ 2167002 h 2561350"/>
                  <a:gd name="connsiteX13" fmla="*/ 128977 w 2066952"/>
                  <a:gd name="connsiteY13" fmla="*/ 2200159 h 2561350"/>
                  <a:gd name="connsiteX14" fmla="*/ 0 w 2066952"/>
                  <a:gd name="connsiteY14" fmla="*/ 1657531 h 2561350"/>
                  <a:gd name="connsiteX15" fmla="*/ 257433 w 2066952"/>
                  <a:gd name="connsiteY15" fmla="*/ 1557347 h 2561350"/>
                  <a:gd name="connsiteX16" fmla="*/ 239483 w 2066952"/>
                  <a:gd name="connsiteY16" fmla="*/ 1049619 h 2561350"/>
                  <a:gd name="connsiteX17" fmla="*/ 29065 w 2066952"/>
                  <a:gd name="connsiteY17" fmla="*/ 1005469 h 2561350"/>
                  <a:gd name="connsiteX18" fmla="*/ 100444 w 2066952"/>
                  <a:gd name="connsiteY18" fmla="*/ 369408 h 2561350"/>
                  <a:gd name="connsiteX19" fmla="*/ 826873 w 2066952"/>
                  <a:gd name="connsiteY19" fmla="*/ 389002 h 2561350"/>
                  <a:gd name="connsiteX20" fmla="*/ 791969 w 2066952"/>
                  <a:gd name="connsiteY20" fmla="*/ 283670 h 2561350"/>
                  <a:gd name="connsiteX21" fmla="*/ 1027712 w 2066952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6650"/>
                  <a:gd name="connsiteY0" fmla="*/ 3 h 2561350"/>
                  <a:gd name="connsiteX1" fmla="*/ 1242025 w 2066650"/>
                  <a:gd name="connsiteY1" fmla="*/ 286050 h 2561350"/>
                  <a:gd name="connsiteX2" fmla="*/ 1219889 w 2066650"/>
                  <a:gd name="connsiteY2" fmla="*/ 389002 h 2561350"/>
                  <a:gd name="connsiteX3" fmla="*/ 1967384 w 2066650"/>
                  <a:gd name="connsiteY3" fmla="*/ 344364 h 2561350"/>
                  <a:gd name="connsiteX4" fmla="*/ 2066506 w 2066650"/>
                  <a:gd name="connsiteY4" fmla="*/ 961234 h 2561350"/>
                  <a:gd name="connsiteX5" fmla="*/ 1862717 w 2066650"/>
                  <a:gd name="connsiteY5" fmla="*/ 1056790 h 2561350"/>
                  <a:gd name="connsiteX6" fmla="*/ 1824721 w 2066650"/>
                  <a:gd name="connsiteY6" fmla="*/ 1531159 h 2561350"/>
                  <a:gd name="connsiteX7" fmla="*/ 2042416 w 2066650"/>
                  <a:gd name="connsiteY7" fmla="*/ 1619452 h 2561350"/>
                  <a:gd name="connsiteX8" fmla="*/ 1951283 w 2066650"/>
                  <a:gd name="connsiteY8" fmla="*/ 2180265 h 2561350"/>
                  <a:gd name="connsiteX9" fmla="*/ 1222152 w 2066650"/>
                  <a:gd name="connsiteY9" fmla="*/ 2167002 h 2561350"/>
                  <a:gd name="connsiteX10" fmla="*/ 1242025 w 2066650"/>
                  <a:gd name="connsiteY10" fmla="*/ 2275300 h 2561350"/>
                  <a:gd name="connsiteX11" fmla="*/ 791969 w 2066650"/>
                  <a:gd name="connsiteY11" fmla="*/ 2277680 h 2561350"/>
                  <a:gd name="connsiteX12" fmla="*/ 821902 w 2066650"/>
                  <a:gd name="connsiteY12" fmla="*/ 2167002 h 2561350"/>
                  <a:gd name="connsiteX13" fmla="*/ 128977 w 2066650"/>
                  <a:gd name="connsiteY13" fmla="*/ 2200159 h 2561350"/>
                  <a:gd name="connsiteX14" fmla="*/ 0 w 2066650"/>
                  <a:gd name="connsiteY14" fmla="*/ 1657531 h 2561350"/>
                  <a:gd name="connsiteX15" fmla="*/ 257433 w 2066650"/>
                  <a:gd name="connsiteY15" fmla="*/ 1557347 h 2561350"/>
                  <a:gd name="connsiteX16" fmla="*/ 239483 w 2066650"/>
                  <a:gd name="connsiteY16" fmla="*/ 1049619 h 2561350"/>
                  <a:gd name="connsiteX17" fmla="*/ 29065 w 2066650"/>
                  <a:gd name="connsiteY17" fmla="*/ 1005469 h 2561350"/>
                  <a:gd name="connsiteX18" fmla="*/ 100444 w 2066650"/>
                  <a:gd name="connsiteY18" fmla="*/ 369408 h 2561350"/>
                  <a:gd name="connsiteX19" fmla="*/ 826873 w 2066650"/>
                  <a:gd name="connsiteY19" fmla="*/ 389002 h 2561350"/>
                  <a:gd name="connsiteX20" fmla="*/ 791969 w 2066650"/>
                  <a:gd name="connsiteY20" fmla="*/ 283670 h 2561350"/>
                  <a:gd name="connsiteX21" fmla="*/ 1027712 w 2066650"/>
                  <a:gd name="connsiteY21" fmla="*/ 3 h 2561350"/>
                  <a:gd name="connsiteX0" fmla="*/ 1027712 w 2049409"/>
                  <a:gd name="connsiteY0" fmla="*/ 3 h 2561350"/>
                  <a:gd name="connsiteX1" fmla="*/ 1242025 w 2049409"/>
                  <a:gd name="connsiteY1" fmla="*/ 286050 h 2561350"/>
                  <a:gd name="connsiteX2" fmla="*/ 1219889 w 2049409"/>
                  <a:gd name="connsiteY2" fmla="*/ 389002 h 2561350"/>
                  <a:gd name="connsiteX3" fmla="*/ 1967384 w 2049409"/>
                  <a:gd name="connsiteY3" fmla="*/ 344364 h 2561350"/>
                  <a:gd name="connsiteX4" fmla="*/ 2049225 w 2049409"/>
                  <a:gd name="connsiteY4" fmla="*/ 926667 h 2561350"/>
                  <a:gd name="connsiteX5" fmla="*/ 1862717 w 2049409"/>
                  <a:gd name="connsiteY5" fmla="*/ 1056790 h 2561350"/>
                  <a:gd name="connsiteX6" fmla="*/ 1824721 w 2049409"/>
                  <a:gd name="connsiteY6" fmla="*/ 1531159 h 2561350"/>
                  <a:gd name="connsiteX7" fmla="*/ 2042416 w 2049409"/>
                  <a:gd name="connsiteY7" fmla="*/ 1619452 h 2561350"/>
                  <a:gd name="connsiteX8" fmla="*/ 1951283 w 2049409"/>
                  <a:gd name="connsiteY8" fmla="*/ 2180265 h 2561350"/>
                  <a:gd name="connsiteX9" fmla="*/ 1222152 w 2049409"/>
                  <a:gd name="connsiteY9" fmla="*/ 2167002 h 2561350"/>
                  <a:gd name="connsiteX10" fmla="*/ 1242025 w 2049409"/>
                  <a:gd name="connsiteY10" fmla="*/ 2275300 h 2561350"/>
                  <a:gd name="connsiteX11" fmla="*/ 791969 w 2049409"/>
                  <a:gd name="connsiteY11" fmla="*/ 2277680 h 2561350"/>
                  <a:gd name="connsiteX12" fmla="*/ 821902 w 2049409"/>
                  <a:gd name="connsiteY12" fmla="*/ 2167002 h 2561350"/>
                  <a:gd name="connsiteX13" fmla="*/ 128977 w 2049409"/>
                  <a:gd name="connsiteY13" fmla="*/ 2200159 h 2561350"/>
                  <a:gd name="connsiteX14" fmla="*/ 0 w 2049409"/>
                  <a:gd name="connsiteY14" fmla="*/ 1657531 h 2561350"/>
                  <a:gd name="connsiteX15" fmla="*/ 257433 w 2049409"/>
                  <a:gd name="connsiteY15" fmla="*/ 1557347 h 2561350"/>
                  <a:gd name="connsiteX16" fmla="*/ 239483 w 2049409"/>
                  <a:gd name="connsiteY16" fmla="*/ 1049619 h 2561350"/>
                  <a:gd name="connsiteX17" fmla="*/ 29065 w 2049409"/>
                  <a:gd name="connsiteY17" fmla="*/ 1005469 h 2561350"/>
                  <a:gd name="connsiteX18" fmla="*/ 100444 w 2049409"/>
                  <a:gd name="connsiteY18" fmla="*/ 369408 h 2561350"/>
                  <a:gd name="connsiteX19" fmla="*/ 826873 w 2049409"/>
                  <a:gd name="connsiteY19" fmla="*/ 389002 h 2561350"/>
                  <a:gd name="connsiteX20" fmla="*/ 791969 w 2049409"/>
                  <a:gd name="connsiteY20" fmla="*/ 283670 h 2561350"/>
                  <a:gd name="connsiteX21" fmla="*/ 1027712 w 2049409"/>
                  <a:gd name="connsiteY21" fmla="*/ 3 h 2561350"/>
                  <a:gd name="connsiteX0" fmla="*/ 1027712 w 2049338"/>
                  <a:gd name="connsiteY0" fmla="*/ 3 h 2561350"/>
                  <a:gd name="connsiteX1" fmla="*/ 1242025 w 2049338"/>
                  <a:gd name="connsiteY1" fmla="*/ 286050 h 2561350"/>
                  <a:gd name="connsiteX2" fmla="*/ 1219889 w 2049338"/>
                  <a:gd name="connsiteY2" fmla="*/ 389002 h 2561350"/>
                  <a:gd name="connsiteX3" fmla="*/ 1967384 w 2049338"/>
                  <a:gd name="connsiteY3" fmla="*/ 344364 h 2561350"/>
                  <a:gd name="connsiteX4" fmla="*/ 2049225 w 2049338"/>
                  <a:gd name="connsiteY4" fmla="*/ 926667 h 2561350"/>
                  <a:gd name="connsiteX5" fmla="*/ 1862717 w 2049338"/>
                  <a:gd name="connsiteY5" fmla="*/ 1056790 h 2561350"/>
                  <a:gd name="connsiteX6" fmla="*/ 1824721 w 2049338"/>
                  <a:gd name="connsiteY6" fmla="*/ 1531159 h 2561350"/>
                  <a:gd name="connsiteX7" fmla="*/ 2042416 w 2049338"/>
                  <a:gd name="connsiteY7" fmla="*/ 1619452 h 2561350"/>
                  <a:gd name="connsiteX8" fmla="*/ 1951283 w 2049338"/>
                  <a:gd name="connsiteY8" fmla="*/ 2180265 h 2561350"/>
                  <a:gd name="connsiteX9" fmla="*/ 1222152 w 2049338"/>
                  <a:gd name="connsiteY9" fmla="*/ 2167002 h 2561350"/>
                  <a:gd name="connsiteX10" fmla="*/ 1242025 w 2049338"/>
                  <a:gd name="connsiteY10" fmla="*/ 2275300 h 2561350"/>
                  <a:gd name="connsiteX11" fmla="*/ 791969 w 2049338"/>
                  <a:gd name="connsiteY11" fmla="*/ 2277680 h 2561350"/>
                  <a:gd name="connsiteX12" fmla="*/ 821902 w 2049338"/>
                  <a:gd name="connsiteY12" fmla="*/ 2167002 h 2561350"/>
                  <a:gd name="connsiteX13" fmla="*/ 128977 w 2049338"/>
                  <a:gd name="connsiteY13" fmla="*/ 2200159 h 2561350"/>
                  <a:gd name="connsiteX14" fmla="*/ 0 w 2049338"/>
                  <a:gd name="connsiteY14" fmla="*/ 1657531 h 2561350"/>
                  <a:gd name="connsiteX15" fmla="*/ 257433 w 2049338"/>
                  <a:gd name="connsiteY15" fmla="*/ 1557347 h 2561350"/>
                  <a:gd name="connsiteX16" fmla="*/ 239483 w 2049338"/>
                  <a:gd name="connsiteY16" fmla="*/ 1049619 h 2561350"/>
                  <a:gd name="connsiteX17" fmla="*/ 29065 w 2049338"/>
                  <a:gd name="connsiteY17" fmla="*/ 1005469 h 2561350"/>
                  <a:gd name="connsiteX18" fmla="*/ 100444 w 2049338"/>
                  <a:gd name="connsiteY18" fmla="*/ 369408 h 2561350"/>
                  <a:gd name="connsiteX19" fmla="*/ 826873 w 2049338"/>
                  <a:gd name="connsiteY19" fmla="*/ 389002 h 2561350"/>
                  <a:gd name="connsiteX20" fmla="*/ 791969 w 2049338"/>
                  <a:gd name="connsiteY20" fmla="*/ 283670 h 2561350"/>
                  <a:gd name="connsiteX21" fmla="*/ 1027712 w 2049338"/>
                  <a:gd name="connsiteY21" fmla="*/ 3 h 2561350"/>
                  <a:gd name="connsiteX0" fmla="*/ 1027712 w 2053522"/>
                  <a:gd name="connsiteY0" fmla="*/ 3 h 2561350"/>
                  <a:gd name="connsiteX1" fmla="*/ 1242025 w 2053522"/>
                  <a:gd name="connsiteY1" fmla="*/ 286050 h 2561350"/>
                  <a:gd name="connsiteX2" fmla="*/ 1219889 w 2053522"/>
                  <a:gd name="connsiteY2" fmla="*/ 389002 h 2561350"/>
                  <a:gd name="connsiteX3" fmla="*/ 1967384 w 2053522"/>
                  <a:gd name="connsiteY3" fmla="*/ 344364 h 2561350"/>
                  <a:gd name="connsiteX4" fmla="*/ 2049225 w 2053522"/>
                  <a:gd name="connsiteY4" fmla="*/ 926667 h 2561350"/>
                  <a:gd name="connsiteX5" fmla="*/ 1862717 w 2053522"/>
                  <a:gd name="connsiteY5" fmla="*/ 1056790 h 2561350"/>
                  <a:gd name="connsiteX6" fmla="*/ 1824721 w 2053522"/>
                  <a:gd name="connsiteY6" fmla="*/ 1531159 h 2561350"/>
                  <a:gd name="connsiteX7" fmla="*/ 2042416 w 2053522"/>
                  <a:gd name="connsiteY7" fmla="*/ 1619452 h 2561350"/>
                  <a:gd name="connsiteX8" fmla="*/ 1951283 w 2053522"/>
                  <a:gd name="connsiteY8" fmla="*/ 2180265 h 2561350"/>
                  <a:gd name="connsiteX9" fmla="*/ 1222152 w 2053522"/>
                  <a:gd name="connsiteY9" fmla="*/ 2167002 h 2561350"/>
                  <a:gd name="connsiteX10" fmla="*/ 1242025 w 2053522"/>
                  <a:gd name="connsiteY10" fmla="*/ 2275300 h 2561350"/>
                  <a:gd name="connsiteX11" fmla="*/ 791969 w 2053522"/>
                  <a:gd name="connsiteY11" fmla="*/ 2277680 h 2561350"/>
                  <a:gd name="connsiteX12" fmla="*/ 821902 w 2053522"/>
                  <a:gd name="connsiteY12" fmla="*/ 2167002 h 2561350"/>
                  <a:gd name="connsiteX13" fmla="*/ 128977 w 2053522"/>
                  <a:gd name="connsiteY13" fmla="*/ 2200159 h 2561350"/>
                  <a:gd name="connsiteX14" fmla="*/ 0 w 2053522"/>
                  <a:gd name="connsiteY14" fmla="*/ 1657531 h 2561350"/>
                  <a:gd name="connsiteX15" fmla="*/ 257433 w 2053522"/>
                  <a:gd name="connsiteY15" fmla="*/ 1557347 h 2561350"/>
                  <a:gd name="connsiteX16" fmla="*/ 239483 w 2053522"/>
                  <a:gd name="connsiteY16" fmla="*/ 1049619 h 2561350"/>
                  <a:gd name="connsiteX17" fmla="*/ 29065 w 2053522"/>
                  <a:gd name="connsiteY17" fmla="*/ 1005469 h 2561350"/>
                  <a:gd name="connsiteX18" fmla="*/ 100444 w 2053522"/>
                  <a:gd name="connsiteY18" fmla="*/ 369408 h 2561350"/>
                  <a:gd name="connsiteX19" fmla="*/ 826873 w 2053522"/>
                  <a:gd name="connsiteY19" fmla="*/ 389002 h 2561350"/>
                  <a:gd name="connsiteX20" fmla="*/ 791969 w 2053522"/>
                  <a:gd name="connsiteY20" fmla="*/ 283670 h 2561350"/>
                  <a:gd name="connsiteX21" fmla="*/ 1027712 w 2053522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6166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60129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40556" h="2561350">
                    <a:moveTo>
                      <a:pt x="1014747" y="3"/>
                    </a:moveTo>
                    <a:cubicBezTo>
                      <a:pt x="1183816" y="-691"/>
                      <a:pt x="1351799" y="120921"/>
                      <a:pt x="1229060" y="286050"/>
                    </a:cubicBezTo>
                    <a:cubicBezTo>
                      <a:pt x="1212950" y="315682"/>
                      <a:pt x="1201168" y="348101"/>
                      <a:pt x="1206924" y="389002"/>
                    </a:cubicBezTo>
                    <a:cubicBezTo>
                      <a:pt x="1211992" y="528261"/>
                      <a:pt x="1716654" y="452477"/>
                      <a:pt x="1954419" y="344364"/>
                    </a:cubicBezTo>
                    <a:cubicBezTo>
                      <a:pt x="1970498" y="474789"/>
                      <a:pt x="2061145" y="783619"/>
                      <a:pt x="2036260" y="926667"/>
                    </a:cubicBezTo>
                    <a:cubicBezTo>
                      <a:pt x="2027166" y="1024060"/>
                      <a:pt x="1970476" y="1153289"/>
                      <a:pt x="1849752" y="1060129"/>
                    </a:cubicBezTo>
                    <a:cubicBezTo>
                      <a:pt x="1475468" y="853624"/>
                      <a:pt x="1487545" y="1649324"/>
                      <a:pt x="1811756" y="1531159"/>
                    </a:cubicBezTo>
                    <a:cubicBezTo>
                      <a:pt x="1923754" y="1469515"/>
                      <a:pt x="1987209" y="1400411"/>
                      <a:pt x="2036129" y="1616113"/>
                    </a:cubicBezTo>
                    <a:cubicBezTo>
                      <a:pt x="2051136" y="1730790"/>
                      <a:pt x="1956393" y="2051666"/>
                      <a:pt x="1938318" y="2180265"/>
                    </a:cubicBezTo>
                    <a:cubicBezTo>
                      <a:pt x="1741694" y="2153739"/>
                      <a:pt x="1359392" y="2007849"/>
                      <a:pt x="1209187" y="2167002"/>
                    </a:cubicBezTo>
                    <a:cubicBezTo>
                      <a:pt x="1195706" y="2193452"/>
                      <a:pt x="1198508" y="2230274"/>
                      <a:pt x="1229060" y="2275300"/>
                    </a:cubicBezTo>
                    <a:cubicBezTo>
                      <a:pt x="1469566" y="2660267"/>
                      <a:pt x="567071" y="2652331"/>
                      <a:pt x="779004" y="2277680"/>
                    </a:cubicBezTo>
                    <a:cubicBezTo>
                      <a:pt x="817979" y="2223379"/>
                      <a:pt x="825787" y="2190096"/>
                      <a:pt x="808937" y="2167002"/>
                    </a:cubicBezTo>
                    <a:cubicBezTo>
                      <a:pt x="706169" y="2021111"/>
                      <a:pt x="364670" y="2147108"/>
                      <a:pt x="116012" y="2200159"/>
                    </a:cubicBezTo>
                    <a:cubicBezTo>
                      <a:pt x="57942" y="2073996"/>
                      <a:pt x="976" y="1794778"/>
                      <a:pt x="0" y="1657530"/>
                    </a:cubicBezTo>
                    <a:cubicBezTo>
                      <a:pt x="23569" y="1399547"/>
                      <a:pt x="142648" y="1475748"/>
                      <a:pt x="248790" y="1539671"/>
                    </a:cubicBezTo>
                    <a:cubicBezTo>
                      <a:pt x="563771" y="1555589"/>
                      <a:pt x="485163" y="925406"/>
                      <a:pt x="226518" y="1049619"/>
                    </a:cubicBezTo>
                    <a:cubicBezTo>
                      <a:pt x="150003" y="1086365"/>
                      <a:pt x="56561" y="1164379"/>
                      <a:pt x="16100" y="1005469"/>
                    </a:cubicBezTo>
                    <a:cubicBezTo>
                      <a:pt x="-32993" y="864734"/>
                      <a:pt x="47286" y="478570"/>
                      <a:pt x="87479" y="369408"/>
                    </a:cubicBezTo>
                    <a:cubicBezTo>
                      <a:pt x="483685" y="502036"/>
                      <a:pt x="775797" y="488473"/>
                      <a:pt x="813908" y="389002"/>
                    </a:cubicBezTo>
                    <a:cubicBezTo>
                      <a:pt x="824229" y="365427"/>
                      <a:pt x="814657" y="333342"/>
                      <a:pt x="779004" y="283670"/>
                    </a:cubicBezTo>
                    <a:cubicBezTo>
                      <a:pt x="673038" y="96344"/>
                      <a:pt x="845678" y="698"/>
                      <a:pt x="1014747" y="3"/>
                    </a:cubicBezTo>
                    <a:close/>
                  </a:path>
                </a:pathLst>
              </a:custGeom>
              <a:solidFill>
                <a:srgbClr val="A4A4A4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Rectangle 5"/>
              <p:cNvSpPr/>
              <p:nvPr/>
            </p:nvSpPr>
            <p:spPr>
              <a:xfrm flipV="1">
                <a:off x="6213670" y="5773349"/>
                <a:ext cx="1448109" cy="1792218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9564" h="2561350">
                    <a:moveTo>
                      <a:pt x="1028762" y="3"/>
                    </a:moveTo>
                    <a:cubicBezTo>
                      <a:pt x="1197831" y="-691"/>
                      <a:pt x="1365814" y="120921"/>
                      <a:pt x="1243075" y="286050"/>
                    </a:cubicBezTo>
                    <a:cubicBezTo>
                      <a:pt x="1226965" y="315682"/>
                      <a:pt x="1215183" y="348101"/>
                      <a:pt x="1220939" y="389002"/>
                    </a:cubicBezTo>
                    <a:cubicBezTo>
                      <a:pt x="1226007" y="528261"/>
                      <a:pt x="1696102" y="461119"/>
                      <a:pt x="1959793" y="361648"/>
                    </a:cubicBezTo>
                    <a:cubicBezTo>
                      <a:pt x="2053648" y="496394"/>
                      <a:pt x="2070837" y="822506"/>
                      <a:pt x="2067556" y="961234"/>
                    </a:cubicBezTo>
                    <a:cubicBezTo>
                      <a:pt x="2071425" y="1080232"/>
                      <a:pt x="2014728" y="1106744"/>
                      <a:pt x="1881048" y="1030865"/>
                    </a:cubicBezTo>
                    <a:cubicBezTo>
                      <a:pt x="1483772" y="845572"/>
                      <a:pt x="1585020" y="1699608"/>
                      <a:pt x="1847373" y="1535481"/>
                    </a:cubicBezTo>
                    <a:cubicBezTo>
                      <a:pt x="1929125" y="1495441"/>
                      <a:pt x="2055039" y="1373504"/>
                      <a:pt x="2065070" y="1597847"/>
                    </a:cubicBezTo>
                    <a:cubicBezTo>
                      <a:pt x="2080077" y="1677957"/>
                      <a:pt x="2061145" y="2086235"/>
                      <a:pt x="1952333" y="2180265"/>
                    </a:cubicBezTo>
                    <a:cubicBezTo>
                      <a:pt x="1755709" y="2153739"/>
                      <a:pt x="1373407" y="2007849"/>
                      <a:pt x="1223202" y="2167002"/>
                    </a:cubicBezTo>
                    <a:cubicBezTo>
                      <a:pt x="1209721" y="2193452"/>
                      <a:pt x="1212523" y="2230274"/>
                      <a:pt x="1243075" y="2275300"/>
                    </a:cubicBezTo>
                    <a:cubicBezTo>
                      <a:pt x="1483581" y="2660267"/>
                      <a:pt x="581086" y="2652331"/>
                      <a:pt x="793019" y="2277680"/>
                    </a:cubicBezTo>
                    <a:cubicBezTo>
                      <a:pt x="831994" y="2223379"/>
                      <a:pt x="839802" y="2190096"/>
                      <a:pt x="822952" y="2167002"/>
                    </a:cubicBezTo>
                    <a:cubicBezTo>
                      <a:pt x="720184" y="2021111"/>
                      <a:pt x="378685" y="2147108"/>
                      <a:pt x="130027" y="2200159"/>
                    </a:cubicBezTo>
                    <a:cubicBezTo>
                      <a:pt x="37391" y="2130168"/>
                      <a:pt x="-7600" y="1771407"/>
                      <a:pt x="1050" y="1657531"/>
                    </a:cubicBezTo>
                    <a:cubicBezTo>
                      <a:pt x="24620" y="1416831"/>
                      <a:pt x="117773" y="1502066"/>
                      <a:pt x="271446" y="1561668"/>
                    </a:cubicBezTo>
                    <a:cubicBezTo>
                      <a:pt x="483628" y="1635999"/>
                      <a:pt x="591036" y="1022800"/>
                      <a:pt x="249172" y="1045298"/>
                    </a:cubicBezTo>
                    <a:cubicBezTo>
                      <a:pt x="168463" y="1050498"/>
                      <a:pt x="31683" y="1183628"/>
                      <a:pt x="8510" y="1018431"/>
                    </a:cubicBezTo>
                    <a:cubicBezTo>
                      <a:pt x="-14663" y="907943"/>
                      <a:pt x="13766" y="478572"/>
                      <a:pt x="110133" y="382371"/>
                    </a:cubicBezTo>
                    <a:cubicBezTo>
                      <a:pt x="506339" y="514999"/>
                      <a:pt x="789812" y="488473"/>
                      <a:pt x="827923" y="389002"/>
                    </a:cubicBezTo>
                    <a:cubicBezTo>
                      <a:pt x="838244" y="365427"/>
                      <a:pt x="828672" y="333342"/>
                      <a:pt x="793019" y="283670"/>
                    </a:cubicBezTo>
                    <a:cubicBezTo>
                      <a:pt x="687053" y="96344"/>
                      <a:pt x="859693" y="698"/>
                      <a:pt x="1028762" y="3"/>
                    </a:cubicBezTo>
                    <a:close/>
                  </a:path>
                </a:pathLst>
              </a:custGeom>
              <a:solidFill>
                <a:srgbClr val="6C6C6C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7" name="Group 126"/>
            <p:cNvGrpSpPr/>
            <p:nvPr/>
          </p:nvGrpSpPr>
          <p:grpSpPr>
            <a:xfrm>
              <a:off x="7145891" y="3005474"/>
              <a:ext cx="448480" cy="2314531"/>
              <a:chOff x="4406062" y="3005474"/>
              <a:chExt cx="448480" cy="2314531"/>
            </a:xfrm>
          </p:grpSpPr>
          <p:sp>
            <p:nvSpPr>
              <p:cNvPr id="128" name="TextBox 127"/>
              <p:cNvSpPr txBox="1"/>
              <p:nvPr/>
            </p:nvSpPr>
            <p:spPr>
              <a:xfrm rot="16200000">
                <a:off x="4023751" y="4683778"/>
                <a:ext cx="1018538" cy="2539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asinos</a:t>
                </a:r>
              </a:p>
            </p:txBody>
          </p:sp>
          <p:sp>
            <p:nvSpPr>
              <p:cNvPr id="129" name="TextBox 128"/>
              <p:cNvSpPr txBox="1"/>
              <p:nvPr/>
            </p:nvSpPr>
            <p:spPr>
              <a:xfrm rot="16200000">
                <a:off x="3971196" y="3473322"/>
                <a:ext cx="1351193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Withdrawals</a:t>
                </a:r>
              </a:p>
              <a:p>
                <a:pPr algn="ctr"/>
                <a:endParaRPr lang="en-US" sz="10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grpSp>
        <p:nvGrpSpPr>
          <p:cNvPr id="133" name="Group 132"/>
          <p:cNvGrpSpPr/>
          <p:nvPr/>
        </p:nvGrpSpPr>
        <p:grpSpPr>
          <a:xfrm rot="5400000">
            <a:off x="3753380" y="1496844"/>
            <a:ext cx="1603762" cy="3541754"/>
            <a:chOff x="6509948" y="1909996"/>
            <a:chExt cx="1603762" cy="3541754"/>
          </a:xfrm>
          <a:effectLst>
            <a:outerShdw blurRad="63500" sx="101000" sy="101000" algn="ctr" rotWithShape="0">
              <a:prstClr val="black">
                <a:alpha val="25000"/>
              </a:prstClr>
            </a:outerShdw>
          </a:effectLst>
        </p:grpSpPr>
        <p:grpSp>
          <p:nvGrpSpPr>
            <p:cNvPr id="134" name="Group 133"/>
            <p:cNvGrpSpPr/>
            <p:nvPr/>
          </p:nvGrpSpPr>
          <p:grpSpPr>
            <a:xfrm>
              <a:off x="6509948" y="1909996"/>
              <a:ext cx="1603762" cy="3541754"/>
              <a:chOff x="6034506" y="2130195"/>
              <a:chExt cx="1800678" cy="3976625"/>
            </a:xfrm>
            <a:scene3d>
              <a:camera prst="orthographicFront"/>
              <a:lightRig rig="threePt" dir="t"/>
            </a:scene3d>
          </p:grpSpPr>
          <p:sp>
            <p:nvSpPr>
              <p:cNvPr id="139" name="Rectangle 5"/>
              <p:cNvSpPr/>
              <p:nvPr/>
            </p:nvSpPr>
            <p:spPr>
              <a:xfrm rot="5400000">
                <a:off x="6216710" y="1947991"/>
                <a:ext cx="1427811" cy="1792219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362 w 2069164"/>
                  <a:gd name="connsiteY0" fmla="*/ 3 h 2561350"/>
                  <a:gd name="connsiteX1" fmla="*/ 1242675 w 2069164"/>
                  <a:gd name="connsiteY1" fmla="*/ 286050 h 2561350"/>
                  <a:gd name="connsiteX2" fmla="*/ 1220539 w 2069164"/>
                  <a:gd name="connsiteY2" fmla="*/ 389002 h 2561350"/>
                  <a:gd name="connsiteX3" fmla="*/ 1959393 w 2069164"/>
                  <a:gd name="connsiteY3" fmla="*/ 361648 h 2561350"/>
                  <a:gd name="connsiteX4" fmla="*/ 2067156 w 2069164"/>
                  <a:gd name="connsiteY4" fmla="*/ 961234 h 2561350"/>
                  <a:gd name="connsiteX5" fmla="*/ 1880648 w 2069164"/>
                  <a:gd name="connsiteY5" fmla="*/ 1030865 h 2561350"/>
                  <a:gd name="connsiteX6" fmla="*/ 1846973 w 2069164"/>
                  <a:gd name="connsiteY6" fmla="*/ 1535481 h 2561350"/>
                  <a:gd name="connsiteX7" fmla="*/ 2064670 w 2069164"/>
                  <a:gd name="connsiteY7" fmla="*/ 1597847 h 2561350"/>
                  <a:gd name="connsiteX8" fmla="*/ 1951933 w 2069164"/>
                  <a:gd name="connsiteY8" fmla="*/ 2180265 h 2561350"/>
                  <a:gd name="connsiteX9" fmla="*/ 1222802 w 2069164"/>
                  <a:gd name="connsiteY9" fmla="*/ 2167002 h 2561350"/>
                  <a:gd name="connsiteX10" fmla="*/ 1242675 w 2069164"/>
                  <a:gd name="connsiteY10" fmla="*/ 2275300 h 2561350"/>
                  <a:gd name="connsiteX11" fmla="*/ 792619 w 2069164"/>
                  <a:gd name="connsiteY11" fmla="*/ 2277680 h 2561350"/>
                  <a:gd name="connsiteX12" fmla="*/ 822552 w 2069164"/>
                  <a:gd name="connsiteY12" fmla="*/ 2167002 h 2561350"/>
                  <a:gd name="connsiteX13" fmla="*/ 129627 w 2069164"/>
                  <a:gd name="connsiteY13" fmla="*/ 2200159 h 2561350"/>
                  <a:gd name="connsiteX14" fmla="*/ 650 w 2069164"/>
                  <a:gd name="connsiteY14" fmla="*/ 1657531 h 2561350"/>
                  <a:gd name="connsiteX15" fmla="*/ 258083 w 2069164"/>
                  <a:gd name="connsiteY15" fmla="*/ 1557347 h 2561350"/>
                  <a:gd name="connsiteX16" fmla="*/ 270377 w 2069164"/>
                  <a:gd name="connsiteY16" fmla="*/ 1028015 h 2561350"/>
                  <a:gd name="connsiteX17" fmla="*/ 29715 w 2069164"/>
                  <a:gd name="connsiteY17" fmla="*/ 1005469 h 2561350"/>
                  <a:gd name="connsiteX18" fmla="*/ 109733 w 2069164"/>
                  <a:gd name="connsiteY18" fmla="*/ 382371 h 2561350"/>
                  <a:gd name="connsiteX19" fmla="*/ 827523 w 2069164"/>
                  <a:gd name="connsiteY19" fmla="*/ 389002 h 2561350"/>
                  <a:gd name="connsiteX20" fmla="*/ 792619 w 2069164"/>
                  <a:gd name="connsiteY20" fmla="*/ 283670 h 2561350"/>
                  <a:gd name="connsiteX21" fmla="*/ 1028362 w 206916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64020 w 2066875"/>
                  <a:gd name="connsiteY7" fmla="*/ 1597847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952"/>
                  <a:gd name="connsiteY0" fmla="*/ 3 h 2561350"/>
                  <a:gd name="connsiteX1" fmla="*/ 1242025 w 2066952"/>
                  <a:gd name="connsiteY1" fmla="*/ 286050 h 2561350"/>
                  <a:gd name="connsiteX2" fmla="*/ 1219889 w 2066952"/>
                  <a:gd name="connsiteY2" fmla="*/ 389002 h 2561350"/>
                  <a:gd name="connsiteX3" fmla="*/ 1963063 w 2066952"/>
                  <a:gd name="connsiteY3" fmla="*/ 357327 h 2561350"/>
                  <a:gd name="connsiteX4" fmla="*/ 2066506 w 2066952"/>
                  <a:gd name="connsiteY4" fmla="*/ 961234 h 2561350"/>
                  <a:gd name="connsiteX5" fmla="*/ 1862717 w 2066952"/>
                  <a:gd name="connsiteY5" fmla="*/ 1056790 h 2561350"/>
                  <a:gd name="connsiteX6" fmla="*/ 1824721 w 2066952"/>
                  <a:gd name="connsiteY6" fmla="*/ 1531159 h 2561350"/>
                  <a:gd name="connsiteX7" fmla="*/ 2042416 w 2066952"/>
                  <a:gd name="connsiteY7" fmla="*/ 1619452 h 2561350"/>
                  <a:gd name="connsiteX8" fmla="*/ 1951283 w 2066952"/>
                  <a:gd name="connsiteY8" fmla="*/ 2180265 h 2561350"/>
                  <a:gd name="connsiteX9" fmla="*/ 1222152 w 2066952"/>
                  <a:gd name="connsiteY9" fmla="*/ 2167002 h 2561350"/>
                  <a:gd name="connsiteX10" fmla="*/ 1242025 w 2066952"/>
                  <a:gd name="connsiteY10" fmla="*/ 2275300 h 2561350"/>
                  <a:gd name="connsiteX11" fmla="*/ 791969 w 2066952"/>
                  <a:gd name="connsiteY11" fmla="*/ 2277680 h 2561350"/>
                  <a:gd name="connsiteX12" fmla="*/ 821902 w 2066952"/>
                  <a:gd name="connsiteY12" fmla="*/ 2167002 h 2561350"/>
                  <a:gd name="connsiteX13" fmla="*/ 128977 w 2066952"/>
                  <a:gd name="connsiteY13" fmla="*/ 2200159 h 2561350"/>
                  <a:gd name="connsiteX14" fmla="*/ 0 w 2066952"/>
                  <a:gd name="connsiteY14" fmla="*/ 1657531 h 2561350"/>
                  <a:gd name="connsiteX15" fmla="*/ 257433 w 2066952"/>
                  <a:gd name="connsiteY15" fmla="*/ 1557347 h 2561350"/>
                  <a:gd name="connsiteX16" fmla="*/ 239483 w 2066952"/>
                  <a:gd name="connsiteY16" fmla="*/ 1049619 h 2561350"/>
                  <a:gd name="connsiteX17" fmla="*/ 29065 w 2066952"/>
                  <a:gd name="connsiteY17" fmla="*/ 1005469 h 2561350"/>
                  <a:gd name="connsiteX18" fmla="*/ 100444 w 2066952"/>
                  <a:gd name="connsiteY18" fmla="*/ 369408 h 2561350"/>
                  <a:gd name="connsiteX19" fmla="*/ 826873 w 2066952"/>
                  <a:gd name="connsiteY19" fmla="*/ 389002 h 2561350"/>
                  <a:gd name="connsiteX20" fmla="*/ 791969 w 2066952"/>
                  <a:gd name="connsiteY20" fmla="*/ 283670 h 2561350"/>
                  <a:gd name="connsiteX21" fmla="*/ 1027712 w 2066952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6650"/>
                  <a:gd name="connsiteY0" fmla="*/ 3 h 2561350"/>
                  <a:gd name="connsiteX1" fmla="*/ 1242025 w 2066650"/>
                  <a:gd name="connsiteY1" fmla="*/ 286050 h 2561350"/>
                  <a:gd name="connsiteX2" fmla="*/ 1219889 w 2066650"/>
                  <a:gd name="connsiteY2" fmla="*/ 389002 h 2561350"/>
                  <a:gd name="connsiteX3" fmla="*/ 1967384 w 2066650"/>
                  <a:gd name="connsiteY3" fmla="*/ 344364 h 2561350"/>
                  <a:gd name="connsiteX4" fmla="*/ 2066506 w 2066650"/>
                  <a:gd name="connsiteY4" fmla="*/ 961234 h 2561350"/>
                  <a:gd name="connsiteX5" fmla="*/ 1862717 w 2066650"/>
                  <a:gd name="connsiteY5" fmla="*/ 1056790 h 2561350"/>
                  <a:gd name="connsiteX6" fmla="*/ 1824721 w 2066650"/>
                  <a:gd name="connsiteY6" fmla="*/ 1531159 h 2561350"/>
                  <a:gd name="connsiteX7" fmla="*/ 2042416 w 2066650"/>
                  <a:gd name="connsiteY7" fmla="*/ 1619452 h 2561350"/>
                  <a:gd name="connsiteX8" fmla="*/ 1951283 w 2066650"/>
                  <a:gd name="connsiteY8" fmla="*/ 2180265 h 2561350"/>
                  <a:gd name="connsiteX9" fmla="*/ 1222152 w 2066650"/>
                  <a:gd name="connsiteY9" fmla="*/ 2167002 h 2561350"/>
                  <a:gd name="connsiteX10" fmla="*/ 1242025 w 2066650"/>
                  <a:gd name="connsiteY10" fmla="*/ 2275300 h 2561350"/>
                  <a:gd name="connsiteX11" fmla="*/ 791969 w 2066650"/>
                  <a:gd name="connsiteY11" fmla="*/ 2277680 h 2561350"/>
                  <a:gd name="connsiteX12" fmla="*/ 821902 w 2066650"/>
                  <a:gd name="connsiteY12" fmla="*/ 2167002 h 2561350"/>
                  <a:gd name="connsiteX13" fmla="*/ 128977 w 2066650"/>
                  <a:gd name="connsiteY13" fmla="*/ 2200159 h 2561350"/>
                  <a:gd name="connsiteX14" fmla="*/ 0 w 2066650"/>
                  <a:gd name="connsiteY14" fmla="*/ 1657531 h 2561350"/>
                  <a:gd name="connsiteX15" fmla="*/ 257433 w 2066650"/>
                  <a:gd name="connsiteY15" fmla="*/ 1557347 h 2561350"/>
                  <a:gd name="connsiteX16" fmla="*/ 239483 w 2066650"/>
                  <a:gd name="connsiteY16" fmla="*/ 1049619 h 2561350"/>
                  <a:gd name="connsiteX17" fmla="*/ 29065 w 2066650"/>
                  <a:gd name="connsiteY17" fmla="*/ 1005469 h 2561350"/>
                  <a:gd name="connsiteX18" fmla="*/ 100444 w 2066650"/>
                  <a:gd name="connsiteY18" fmla="*/ 369408 h 2561350"/>
                  <a:gd name="connsiteX19" fmla="*/ 826873 w 2066650"/>
                  <a:gd name="connsiteY19" fmla="*/ 389002 h 2561350"/>
                  <a:gd name="connsiteX20" fmla="*/ 791969 w 2066650"/>
                  <a:gd name="connsiteY20" fmla="*/ 283670 h 2561350"/>
                  <a:gd name="connsiteX21" fmla="*/ 1027712 w 2066650"/>
                  <a:gd name="connsiteY21" fmla="*/ 3 h 2561350"/>
                  <a:gd name="connsiteX0" fmla="*/ 1027712 w 2049409"/>
                  <a:gd name="connsiteY0" fmla="*/ 3 h 2561350"/>
                  <a:gd name="connsiteX1" fmla="*/ 1242025 w 2049409"/>
                  <a:gd name="connsiteY1" fmla="*/ 286050 h 2561350"/>
                  <a:gd name="connsiteX2" fmla="*/ 1219889 w 2049409"/>
                  <a:gd name="connsiteY2" fmla="*/ 389002 h 2561350"/>
                  <a:gd name="connsiteX3" fmla="*/ 1967384 w 2049409"/>
                  <a:gd name="connsiteY3" fmla="*/ 344364 h 2561350"/>
                  <a:gd name="connsiteX4" fmla="*/ 2049225 w 2049409"/>
                  <a:gd name="connsiteY4" fmla="*/ 926667 h 2561350"/>
                  <a:gd name="connsiteX5" fmla="*/ 1862717 w 2049409"/>
                  <a:gd name="connsiteY5" fmla="*/ 1056790 h 2561350"/>
                  <a:gd name="connsiteX6" fmla="*/ 1824721 w 2049409"/>
                  <a:gd name="connsiteY6" fmla="*/ 1531159 h 2561350"/>
                  <a:gd name="connsiteX7" fmla="*/ 2042416 w 2049409"/>
                  <a:gd name="connsiteY7" fmla="*/ 1619452 h 2561350"/>
                  <a:gd name="connsiteX8" fmla="*/ 1951283 w 2049409"/>
                  <a:gd name="connsiteY8" fmla="*/ 2180265 h 2561350"/>
                  <a:gd name="connsiteX9" fmla="*/ 1222152 w 2049409"/>
                  <a:gd name="connsiteY9" fmla="*/ 2167002 h 2561350"/>
                  <a:gd name="connsiteX10" fmla="*/ 1242025 w 2049409"/>
                  <a:gd name="connsiteY10" fmla="*/ 2275300 h 2561350"/>
                  <a:gd name="connsiteX11" fmla="*/ 791969 w 2049409"/>
                  <a:gd name="connsiteY11" fmla="*/ 2277680 h 2561350"/>
                  <a:gd name="connsiteX12" fmla="*/ 821902 w 2049409"/>
                  <a:gd name="connsiteY12" fmla="*/ 2167002 h 2561350"/>
                  <a:gd name="connsiteX13" fmla="*/ 128977 w 2049409"/>
                  <a:gd name="connsiteY13" fmla="*/ 2200159 h 2561350"/>
                  <a:gd name="connsiteX14" fmla="*/ 0 w 2049409"/>
                  <a:gd name="connsiteY14" fmla="*/ 1657531 h 2561350"/>
                  <a:gd name="connsiteX15" fmla="*/ 257433 w 2049409"/>
                  <a:gd name="connsiteY15" fmla="*/ 1557347 h 2561350"/>
                  <a:gd name="connsiteX16" fmla="*/ 239483 w 2049409"/>
                  <a:gd name="connsiteY16" fmla="*/ 1049619 h 2561350"/>
                  <a:gd name="connsiteX17" fmla="*/ 29065 w 2049409"/>
                  <a:gd name="connsiteY17" fmla="*/ 1005469 h 2561350"/>
                  <a:gd name="connsiteX18" fmla="*/ 100444 w 2049409"/>
                  <a:gd name="connsiteY18" fmla="*/ 369408 h 2561350"/>
                  <a:gd name="connsiteX19" fmla="*/ 826873 w 2049409"/>
                  <a:gd name="connsiteY19" fmla="*/ 389002 h 2561350"/>
                  <a:gd name="connsiteX20" fmla="*/ 791969 w 2049409"/>
                  <a:gd name="connsiteY20" fmla="*/ 283670 h 2561350"/>
                  <a:gd name="connsiteX21" fmla="*/ 1027712 w 2049409"/>
                  <a:gd name="connsiteY21" fmla="*/ 3 h 2561350"/>
                  <a:gd name="connsiteX0" fmla="*/ 1027712 w 2049338"/>
                  <a:gd name="connsiteY0" fmla="*/ 3 h 2561350"/>
                  <a:gd name="connsiteX1" fmla="*/ 1242025 w 2049338"/>
                  <a:gd name="connsiteY1" fmla="*/ 286050 h 2561350"/>
                  <a:gd name="connsiteX2" fmla="*/ 1219889 w 2049338"/>
                  <a:gd name="connsiteY2" fmla="*/ 389002 h 2561350"/>
                  <a:gd name="connsiteX3" fmla="*/ 1967384 w 2049338"/>
                  <a:gd name="connsiteY3" fmla="*/ 344364 h 2561350"/>
                  <a:gd name="connsiteX4" fmla="*/ 2049225 w 2049338"/>
                  <a:gd name="connsiteY4" fmla="*/ 926667 h 2561350"/>
                  <a:gd name="connsiteX5" fmla="*/ 1862717 w 2049338"/>
                  <a:gd name="connsiteY5" fmla="*/ 1056790 h 2561350"/>
                  <a:gd name="connsiteX6" fmla="*/ 1824721 w 2049338"/>
                  <a:gd name="connsiteY6" fmla="*/ 1531159 h 2561350"/>
                  <a:gd name="connsiteX7" fmla="*/ 2042416 w 2049338"/>
                  <a:gd name="connsiteY7" fmla="*/ 1619452 h 2561350"/>
                  <a:gd name="connsiteX8" fmla="*/ 1951283 w 2049338"/>
                  <a:gd name="connsiteY8" fmla="*/ 2180265 h 2561350"/>
                  <a:gd name="connsiteX9" fmla="*/ 1222152 w 2049338"/>
                  <a:gd name="connsiteY9" fmla="*/ 2167002 h 2561350"/>
                  <a:gd name="connsiteX10" fmla="*/ 1242025 w 2049338"/>
                  <a:gd name="connsiteY10" fmla="*/ 2275300 h 2561350"/>
                  <a:gd name="connsiteX11" fmla="*/ 791969 w 2049338"/>
                  <a:gd name="connsiteY11" fmla="*/ 2277680 h 2561350"/>
                  <a:gd name="connsiteX12" fmla="*/ 821902 w 2049338"/>
                  <a:gd name="connsiteY12" fmla="*/ 2167002 h 2561350"/>
                  <a:gd name="connsiteX13" fmla="*/ 128977 w 2049338"/>
                  <a:gd name="connsiteY13" fmla="*/ 2200159 h 2561350"/>
                  <a:gd name="connsiteX14" fmla="*/ 0 w 2049338"/>
                  <a:gd name="connsiteY14" fmla="*/ 1657531 h 2561350"/>
                  <a:gd name="connsiteX15" fmla="*/ 257433 w 2049338"/>
                  <a:gd name="connsiteY15" fmla="*/ 1557347 h 2561350"/>
                  <a:gd name="connsiteX16" fmla="*/ 239483 w 2049338"/>
                  <a:gd name="connsiteY16" fmla="*/ 1049619 h 2561350"/>
                  <a:gd name="connsiteX17" fmla="*/ 29065 w 2049338"/>
                  <a:gd name="connsiteY17" fmla="*/ 1005469 h 2561350"/>
                  <a:gd name="connsiteX18" fmla="*/ 100444 w 2049338"/>
                  <a:gd name="connsiteY18" fmla="*/ 369408 h 2561350"/>
                  <a:gd name="connsiteX19" fmla="*/ 826873 w 2049338"/>
                  <a:gd name="connsiteY19" fmla="*/ 389002 h 2561350"/>
                  <a:gd name="connsiteX20" fmla="*/ 791969 w 2049338"/>
                  <a:gd name="connsiteY20" fmla="*/ 283670 h 2561350"/>
                  <a:gd name="connsiteX21" fmla="*/ 1027712 w 2049338"/>
                  <a:gd name="connsiteY21" fmla="*/ 3 h 2561350"/>
                  <a:gd name="connsiteX0" fmla="*/ 1027712 w 2053522"/>
                  <a:gd name="connsiteY0" fmla="*/ 3 h 2561350"/>
                  <a:gd name="connsiteX1" fmla="*/ 1242025 w 2053522"/>
                  <a:gd name="connsiteY1" fmla="*/ 286050 h 2561350"/>
                  <a:gd name="connsiteX2" fmla="*/ 1219889 w 2053522"/>
                  <a:gd name="connsiteY2" fmla="*/ 389002 h 2561350"/>
                  <a:gd name="connsiteX3" fmla="*/ 1967384 w 2053522"/>
                  <a:gd name="connsiteY3" fmla="*/ 344364 h 2561350"/>
                  <a:gd name="connsiteX4" fmla="*/ 2049225 w 2053522"/>
                  <a:gd name="connsiteY4" fmla="*/ 926667 h 2561350"/>
                  <a:gd name="connsiteX5" fmla="*/ 1862717 w 2053522"/>
                  <a:gd name="connsiteY5" fmla="*/ 1056790 h 2561350"/>
                  <a:gd name="connsiteX6" fmla="*/ 1824721 w 2053522"/>
                  <a:gd name="connsiteY6" fmla="*/ 1531159 h 2561350"/>
                  <a:gd name="connsiteX7" fmla="*/ 2042416 w 2053522"/>
                  <a:gd name="connsiteY7" fmla="*/ 1619452 h 2561350"/>
                  <a:gd name="connsiteX8" fmla="*/ 1951283 w 2053522"/>
                  <a:gd name="connsiteY8" fmla="*/ 2180265 h 2561350"/>
                  <a:gd name="connsiteX9" fmla="*/ 1222152 w 2053522"/>
                  <a:gd name="connsiteY9" fmla="*/ 2167002 h 2561350"/>
                  <a:gd name="connsiteX10" fmla="*/ 1242025 w 2053522"/>
                  <a:gd name="connsiteY10" fmla="*/ 2275300 h 2561350"/>
                  <a:gd name="connsiteX11" fmla="*/ 791969 w 2053522"/>
                  <a:gd name="connsiteY11" fmla="*/ 2277680 h 2561350"/>
                  <a:gd name="connsiteX12" fmla="*/ 821902 w 2053522"/>
                  <a:gd name="connsiteY12" fmla="*/ 2167002 h 2561350"/>
                  <a:gd name="connsiteX13" fmla="*/ 128977 w 2053522"/>
                  <a:gd name="connsiteY13" fmla="*/ 2200159 h 2561350"/>
                  <a:gd name="connsiteX14" fmla="*/ 0 w 2053522"/>
                  <a:gd name="connsiteY14" fmla="*/ 1657531 h 2561350"/>
                  <a:gd name="connsiteX15" fmla="*/ 257433 w 2053522"/>
                  <a:gd name="connsiteY15" fmla="*/ 1557347 h 2561350"/>
                  <a:gd name="connsiteX16" fmla="*/ 239483 w 2053522"/>
                  <a:gd name="connsiteY16" fmla="*/ 1049619 h 2561350"/>
                  <a:gd name="connsiteX17" fmla="*/ 29065 w 2053522"/>
                  <a:gd name="connsiteY17" fmla="*/ 1005469 h 2561350"/>
                  <a:gd name="connsiteX18" fmla="*/ 100444 w 2053522"/>
                  <a:gd name="connsiteY18" fmla="*/ 369408 h 2561350"/>
                  <a:gd name="connsiteX19" fmla="*/ 826873 w 2053522"/>
                  <a:gd name="connsiteY19" fmla="*/ 389002 h 2561350"/>
                  <a:gd name="connsiteX20" fmla="*/ 791969 w 2053522"/>
                  <a:gd name="connsiteY20" fmla="*/ 283670 h 2561350"/>
                  <a:gd name="connsiteX21" fmla="*/ 1027712 w 2053522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6166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60129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40556" h="2561350">
                    <a:moveTo>
                      <a:pt x="1014747" y="3"/>
                    </a:moveTo>
                    <a:cubicBezTo>
                      <a:pt x="1183816" y="-691"/>
                      <a:pt x="1351799" y="120921"/>
                      <a:pt x="1229060" y="286050"/>
                    </a:cubicBezTo>
                    <a:cubicBezTo>
                      <a:pt x="1212950" y="315682"/>
                      <a:pt x="1201168" y="348101"/>
                      <a:pt x="1206924" y="389002"/>
                    </a:cubicBezTo>
                    <a:cubicBezTo>
                      <a:pt x="1211992" y="528261"/>
                      <a:pt x="1716654" y="452477"/>
                      <a:pt x="1954419" y="344364"/>
                    </a:cubicBezTo>
                    <a:cubicBezTo>
                      <a:pt x="1970498" y="474789"/>
                      <a:pt x="2061145" y="783619"/>
                      <a:pt x="2036260" y="926667"/>
                    </a:cubicBezTo>
                    <a:cubicBezTo>
                      <a:pt x="2027166" y="1024060"/>
                      <a:pt x="1970476" y="1153289"/>
                      <a:pt x="1849752" y="1060129"/>
                    </a:cubicBezTo>
                    <a:cubicBezTo>
                      <a:pt x="1475468" y="853624"/>
                      <a:pt x="1487545" y="1649324"/>
                      <a:pt x="1811756" y="1531159"/>
                    </a:cubicBezTo>
                    <a:cubicBezTo>
                      <a:pt x="1923754" y="1469515"/>
                      <a:pt x="1987209" y="1400411"/>
                      <a:pt x="2036129" y="1616113"/>
                    </a:cubicBezTo>
                    <a:cubicBezTo>
                      <a:pt x="2051136" y="1730790"/>
                      <a:pt x="1956393" y="2051666"/>
                      <a:pt x="1938318" y="2180265"/>
                    </a:cubicBezTo>
                    <a:cubicBezTo>
                      <a:pt x="1741694" y="2153739"/>
                      <a:pt x="1359392" y="2007849"/>
                      <a:pt x="1209187" y="2167002"/>
                    </a:cubicBezTo>
                    <a:cubicBezTo>
                      <a:pt x="1195706" y="2193452"/>
                      <a:pt x="1198508" y="2230274"/>
                      <a:pt x="1229060" y="2275300"/>
                    </a:cubicBezTo>
                    <a:cubicBezTo>
                      <a:pt x="1469566" y="2660267"/>
                      <a:pt x="567071" y="2652331"/>
                      <a:pt x="779004" y="2277680"/>
                    </a:cubicBezTo>
                    <a:cubicBezTo>
                      <a:pt x="817979" y="2223379"/>
                      <a:pt x="825787" y="2190096"/>
                      <a:pt x="808937" y="2167002"/>
                    </a:cubicBezTo>
                    <a:cubicBezTo>
                      <a:pt x="706169" y="2021111"/>
                      <a:pt x="364670" y="2147108"/>
                      <a:pt x="116012" y="2200159"/>
                    </a:cubicBezTo>
                    <a:cubicBezTo>
                      <a:pt x="57942" y="2073996"/>
                      <a:pt x="976" y="1794778"/>
                      <a:pt x="0" y="1657530"/>
                    </a:cubicBezTo>
                    <a:cubicBezTo>
                      <a:pt x="23569" y="1399547"/>
                      <a:pt x="142648" y="1475748"/>
                      <a:pt x="248790" y="1539671"/>
                    </a:cubicBezTo>
                    <a:cubicBezTo>
                      <a:pt x="563771" y="1555589"/>
                      <a:pt x="485163" y="925406"/>
                      <a:pt x="226518" y="1049619"/>
                    </a:cubicBezTo>
                    <a:cubicBezTo>
                      <a:pt x="150003" y="1086365"/>
                      <a:pt x="56561" y="1164379"/>
                      <a:pt x="16100" y="1005469"/>
                    </a:cubicBezTo>
                    <a:cubicBezTo>
                      <a:pt x="-32993" y="864734"/>
                      <a:pt x="47286" y="478570"/>
                      <a:pt x="87479" y="369408"/>
                    </a:cubicBezTo>
                    <a:cubicBezTo>
                      <a:pt x="483685" y="502036"/>
                      <a:pt x="775797" y="488473"/>
                      <a:pt x="813908" y="389002"/>
                    </a:cubicBezTo>
                    <a:cubicBezTo>
                      <a:pt x="824229" y="365427"/>
                      <a:pt x="814657" y="333342"/>
                      <a:pt x="779004" y="283670"/>
                    </a:cubicBezTo>
                    <a:cubicBezTo>
                      <a:pt x="673038" y="96344"/>
                      <a:pt x="845678" y="698"/>
                      <a:pt x="1014747" y="3"/>
                    </a:cubicBezTo>
                    <a:close/>
                  </a:path>
                </a:pathLst>
              </a:custGeom>
              <a:solidFill>
                <a:srgbClr val="A4A4A4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Rectangle 5"/>
              <p:cNvSpPr/>
              <p:nvPr/>
            </p:nvSpPr>
            <p:spPr>
              <a:xfrm flipV="1">
                <a:off x="6213670" y="3222065"/>
                <a:ext cx="1448109" cy="1792218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9564" h="2561350">
                    <a:moveTo>
                      <a:pt x="1028762" y="3"/>
                    </a:moveTo>
                    <a:cubicBezTo>
                      <a:pt x="1197831" y="-691"/>
                      <a:pt x="1365814" y="120921"/>
                      <a:pt x="1243075" y="286050"/>
                    </a:cubicBezTo>
                    <a:cubicBezTo>
                      <a:pt x="1226965" y="315682"/>
                      <a:pt x="1215183" y="348101"/>
                      <a:pt x="1220939" y="389002"/>
                    </a:cubicBezTo>
                    <a:cubicBezTo>
                      <a:pt x="1226007" y="528261"/>
                      <a:pt x="1696102" y="461119"/>
                      <a:pt x="1959793" y="361648"/>
                    </a:cubicBezTo>
                    <a:cubicBezTo>
                      <a:pt x="2053648" y="496394"/>
                      <a:pt x="2070837" y="822506"/>
                      <a:pt x="2067556" y="961234"/>
                    </a:cubicBezTo>
                    <a:cubicBezTo>
                      <a:pt x="2071425" y="1080232"/>
                      <a:pt x="2014728" y="1106744"/>
                      <a:pt x="1881048" y="1030865"/>
                    </a:cubicBezTo>
                    <a:cubicBezTo>
                      <a:pt x="1483772" y="845572"/>
                      <a:pt x="1585020" y="1699608"/>
                      <a:pt x="1847373" y="1535481"/>
                    </a:cubicBezTo>
                    <a:cubicBezTo>
                      <a:pt x="1929125" y="1495441"/>
                      <a:pt x="2055039" y="1373504"/>
                      <a:pt x="2065070" y="1597847"/>
                    </a:cubicBezTo>
                    <a:cubicBezTo>
                      <a:pt x="2080077" y="1677957"/>
                      <a:pt x="2061145" y="2086235"/>
                      <a:pt x="1952333" y="2180265"/>
                    </a:cubicBezTo>
                    <a:cubicBezTo>
                      <a:pt x="1755709" y="2153739"/>
                      <a:pt x="1373407" y="2007849"/>
                      <a:pt x="1223202" y="2167002"/>
                    </a:cubicBezTo>
                    <a:cubicBezTo>
                      <a:pt x="1209721" y="2193452"/>
                      <a:pt x="1212523" y="2230274"/>
                      <a:pt x="1243075" y="2275300"/>
                    </a:cubicBezTo>
                    <a:cubicBezTo>
                      <a:pt x="1483581" y="2660267"/>
                      <a:pt x="581086" y="2652331"/>
                      <a:pt x="793019" y="2277680"/>
                    </a:cubicBezTo>
                    <a:cubicBezTo>
                      <a:pt x="831994" y="2223379"/>
                      <a:pt x="839802" y="2190096"/>
                      <a:pt x="822952" y="2167002"/>
                    </a:cubicBezTo>
                    <a:cubicBezTo>
                      <a:pt x="720184" y="2021111"/>
                      <a:pt x="378685" y="2147108"/>
                      <a:pt x="130027" y="2200159"/>
                    </a:cubicBezTo>
                    <a:cubicBezTo>
                      <a:pt x="37391" y="2130168"/>
                      <a:pt x="-7600" y="1771407"/>
                      <a:pt x="1050" y="1657531"/>
                    </a:cubicBezTo>
                    <a:cubicBezTo>
                      <a:pt x="24620" y="1416831"/>
                      <a:pt x="117773" y="1502066"/>
                      <a:pt x="271446" y="1561668"/>
                    </a:cubicBezTo>
                    <a:cubicBezTo>
                      <a:pt x="483628" y="1635999"/>
                      <a:pt x="591036" y="1022800"/>
                      <a:pt x="249172" y="1045298"/>
                    </a:cubicBezTo>
                    <a:cubicBezTo>
                      <a:pt x="168463" y="1050498"/>
                      <a:pt x="31683" y="1183628"/>
                      <a:pt x="8510" y="1018431"/>
                    </a:cubicBezTo>
                    <a:cubicBezTo>
                      <a:pt x="-14663" y="907943"/>
                      <a:pt x="13766" y="478572"/>
                      <a:pt x="110133" y="382371"/>
                    </a:cubicBezTo>
                    <a:cubicBezTo>
                      <a:pt x="506339" y="514999"/>
                      <a:pt x="789812" y="488473"/>
                      <a:pt x="827923" y="389002"/>
                    </a:cubicBezTo>
                    <a:cubicBezTo>
                      <a:pt x="838244" y="365427"/>
                      <a:pt x="828672" y="333342"/>
                      <a:pt x="793019" y="283670"/>
                    </a:cubicBezTo>
                    <a:cubicBezTo>
                      <a:pt x="687053" y="96344"/>
                      <a:pt x="859693" y="698"/>
                      <a:pt x="1028762" y="3"/>
                    </a:cubicBezTo>
                    <a:close/>
                  </a:path>
                </a:pathLst>
              </a:custGeom>
              <a:solidFill>
                <a:srgbClr val="6C6C6C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Rectangle 5"/>
              <p:cNvSpPr/>
              <p:nvPr/>
            </p:nvSpPr>
            <p:spPr>
              <a:xfrm rot="5400000">
                <a:off x="6225169" y="4496805"/>
                <a:ext cx="1427811" cy="1792219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362 w 2069164"/>
                  <a:gd name="connsiteY0" fmla="*/ 3 h 2561350"/>
                  <a:gd name="connsiteX1" fmla="*/ 1242675 w 2069164"/>
                  <a:gd name="connsiteY1" fmla="*/ 286050 h 2561350"/>
                  <a:gd name="connsiteX2" fmla="*/ 1220539 w 2069164"/>
                  <a:gd name="connsiteY2" fmla="*/ 389002 h 2561350"/>
                  <a:gd name="connsiteX3" fmla="*/ 1959393 w 2069164"/>
                  <a:gd name="connsiteY3" fmla="*/ 361648 h 2561350"/>
                  <a:gd name="connsiteX4" fmla="*/ 2067156 w 2069164"/>
                  <a:gd name="connsiteY4" fmla="*/ 961234 h 2561350"/>
                  <a:gd name="connsiteX5" fmla="*/ 1880648 w 2069164"/>
                  <a:gd name="connsiteY5" fmla="*/ 1030865 h 2561350"/>
                  <a:gd name="connsiteX6" fmla="*/ 1846973 w 2069164"/>
                  <a:gd name="connsiteY6" fmla="*/ 1535481 h 2561350"/>
                  <a:gd name="connsiteX7" fmla="*/ 2064670 w 2069164"/>
                  <a:gd name="connsiteY7" fmla="*/ 1597847 h 2561350"/>
                  <a:gd name="connsiteX8" fmla="*/ 1951933 w 2069164"/>
                  <a:gd name="connsiteY8" fmla="*/ 2180265 h 2561350"/>
                  <a:gd name="connsiteX9" fmla="*/ 1222802 w 2069164"/>
                  <a:gd name="connsiteY9" fmla="*/ 2167002 h 2561350"/>
                  <a:gd name="connsiteX10" fmla="*/ 1242675 w 2069164"/>
                  <a:gd name="connsiteY10" fmla="*/ 2275300 h 2561350"/>
                  <a:gd name="connsiteX11" fmla="*/ 792619 w 2069164"/>
                  <a:gd name="connsiteY11" fmla="*/ 2277680 h 2561350"/>
                  <a:gd name="connsiteX12" fmla="*/ 822552 w 2069164"/>
                  <a:gd name="connsiteY12" fmla="*/ 2167002 h 2561350"/>
                  <a:gd name="connsiteX13" fmla="*/ 129627 w 2069164"/>
                  <a:gd name="connsiteY13" fmla="*/ 2200159 h 2561350"/>
                  <a:gd name="connsiteX14" fmla="*/ 650 w 2069164"/>
                  <a:gd name="connsiteY14" fmla="*/ 1657531 h 2561350"/>
                  <a:gd name="connsiteX15" fmla="*/ 258083 w 2069164"/>
                  <a:gd name="connsiteY15" fmla="*/ 1557347 h 2561350"/>
                  <a:gd name="connsiteX16" fmla="*/ 270377 w 2069164"/>
                  <a:gd name="connsiteY16" fmla="*/ 1028015 h 2561350"/>
                  <a:gd name="connsiteX17" fmla="*/ 29715 w 2069164"/>
                  <a:gd name="connsiteY17" fmla="*/ 1005469 h 2561350"/>
                  <a:gd name="connsiteX18" fmla="*/ 109733 w 2069164"/>
                  <a:gd name="connsiteY18" fmla="*/ 382371 h 2561350"/>
                  <a:gd name="connsiteX19" fmla="*/ 827523 w 2069164"/>
                  <a:gd name="connsiteY19" fmla="*/ 389002 h 2561350"/>
                  <a:gd name="connsiteX20" fmla="*/ 792619 w 2069164"/>
                  <a:gd name="connsiteY20" fmla="*/ 283670 h 2561350"/>
                  <a:gd name="connsiteX21" fmla="*/ 1028362 w 206916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64020 w 2066875"/>
                  <a:gd name="connsiteY7" fmla="*/ 1597847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952"/>
                  <a:gd name="connsiteY0" fmla="*/ 3 h 2561350"/>
                  <a:gd name="connsiteX1" fmla="*/ 1242025 w 2066952"/>
                  <a:gd name="connsiteY1" fmla="*/ 286050 h 2561350"/>
                  <a:gd name="connsiteX2" fmla="*/ 1219889 w 2066952"/>
                  <a:gd name="connsiteY2" fmla="*/ 389002 h 2561350"/>
                  <a:gd name="connsiteX3" fmla="*/ 1963063 w 2066952"/>
                  <a:gd name="connsiteY3" fmla="*/ 357327 h 2561350"/>
                  <a:gd name="connsiteX4" fmla="*/ 2066506 w 2066952"/>
                  <a:gd name="connsiteY4" fmla="*/ 961234 h 2561350"/>
                  <a:gd name="connsiteX5" fmla="*/ 1862717 w 2066952"/>
                  <a:gd name="connsiteY5" fmla="*/ 1056790 h 2561350"/>
                  <a:gd name="connsiteX6" fmla="*/ 1824721 w 2066952"/>
                  <a:gd name="connsiteY6" fmla="*/ 1531159 h 2561350"/>
                  <a:gd name="connsiteX7" fmla="*/ 2042416 w 2066952"/>
                  <a:gd name="connsiteY7" fmla="*/ 1619452 h 2561350"/>
                  <a:gd name="connsiteX8" fmla="*/ 1951283 w 2066952"/>
                  <a:gd name="connsiteY8" fmla="*/ 2180265 h 2561350"/>
                  <a:gd name="connsiteX9" fmla="*/ 1222152 w 2066952"/>
                  <a:gd name="connsiteY9" fmla="*/ 2167002 h 2561350"/>
                  <a:gd name="connsiteX10" fmla="*/ 1242025 w 2066952"/>
                  <a:gd name="connsiteY10" fmla="*/ 2275300 h 2561350"/>
                  <a:gd name="connsiteX11" fmla="*/ 791969 w 2066952"/>
                  <a:gd name="connsiteY11" fmla="*/ 2277680 h 2561350"/>
                  <a:gd name="connsiteX12" fmla="*/ 821902 w 2066952"/>
                  <a:gd name="connsiteY12" fmla="*/ 2167002 h 2561350"/>
                  <a:gd name="connsiteX13" fmla="*/ 128977 w 2066952"/>
                  <a:gd name="connsiteY13" fmla="*/ 2200159 h 2561350"/>
                  <a:gd name="connsiteX14" fmla="*/ 0 w 2066952"/>
                  <a:gd name="connsiteY14" fmla="*/ 1657531 h 2561350"/>
                  <a:gd name="connsiteX15" fmla="*/ 257433 w 2066952"/>
                  <a:gd name="connsiteY15" fmla="*/ 1557347 h 2561350"/>
                  <a:gd name="connsiteX16" fmla="*/ 239483 w 2066952"/>
                  <a:gd name="connsiteY16" fmla="*/ 1049619 h 2561350"/>
                  <a:gd name="connsiteX17" fmla="*/ 29065 w 2066952"/>
                  <a:gd name="connsiteY17" fmla="*/ 1005469 h 2561350"/>
                  <a:gd name="connsiteX18" fmla="*/ 100444 w 2066952"/>
                  <a:gd name="connsiteY18" fmla="*/ 369408 h 2561350"/>
                  <a:gd name="connsiteX19" fmla="*/ 826873 w 2066952"/>
                  <a:gd name="connsiteY19" fmla="*/ 389002 h 2561350"/>
                  <a:gd name="connsiteX20" fmla="*/ 791969 w 2066952"/>
                  <a:gd name="connsiteY20" fmla="*/ 283670 h 2561350"/>
                  <a:gd name="connsiteX21" fmla="*/ 1027712 w 2066952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6650"/>
                  <a:gd name="connsiteY0" fmla="*/ 3 h 2561350"/>
                  <a:gd name="connsiteX1" fmla="*/ 1242025 w 2066650"/>
                  <a:gd name="connsiteY1" fmla="*/ 286050 h 2561350"/>
                  <a:gd name="connsiteX2" fmla="*/ 1219889 w 2066650"/>
                  <a:gd name="connsiteY2" fmla="*/ 389002 h 2561350"/>
                  <a:gd name="connsiteX3" fmla="*/ 1967384 w 2066650"/>
                  <a:gd name="connsiteY3" fmla="*/ 344364 h 2561350"/>
                  <a:gd name="connsiteX4" fmla="*/ 2066506 w 2066650"/>
                  <a:gd name="connsiteY4" fmla="*/ 961234 h 2561350"/>
                  <a:gd name="connsiteX5" fmla="*/ 1862717 w 2066650"/>
                  <a:gd name="connsiteY5" fmla="*/ 1056790 h 2561350"/>
                  <a:gd name="connsiteX6" fmla="*/ 1824721 w 2066650"/>
                  <a:gd name="connsiteY6" fmla="*/ 1531159 h 2561350"/>
                  <a:gd name="connsiteX7" fmla="*/ 2042416 w 2066650"/>
                  <a:gd name="connsiteY7" fmla="*/ 1619452 h 2561350"/>
                  <a:gd name="connsiteX8" fmla="*/ 1951283 w 2066650"/>
                  <a:gd name="connsiteY8" fmla="*/ 2180265 h 2561350"/>
                  <a:gd name="connsiteX9" fmla="*/ 1222152 w 2066650"/>
                  <a:gd name="connsiteY9" fmla="*/ 2167002 h 2561350"/>
                  <a:gd name="connsiteX10" fmla="*/ 1242025 w 2066650"/>
                  <a:gd name="connsiteY10" fmla="*/ 2275300 h 2561350"/>
                  <a:gd name="connsiteX11" fmla="*/ 791969 w 2066650"/>
                  <a:gd name="connsiteY11" fmla="*/ 2277680 h 2561350"/>
                  <a:gd name="connsiteX12" fmla="*/ 821902 w 2066650"/>
                  <a:gd name="connsiteY12" fmla="*/ 2167002 h 2561350"/>
                  <a:gd name="connsiteX13" fmla="*/ 128977 w 2066650"/>
                  <a:gd name="connsiteY13" fmla="*/ 2200159 h 2561350"/>
                  <a:gd name="connsiteX14" fmla="*/ 0 w 2066650"/>
                  <a:gd name="connsiteY14" fmla="*/ 1657531 h 2561350"/>
                  <a:gd name="connsiteX15" fmla="*/ 257433 w 2066650"/>
                  <a:gd name="connsiteY15" fmla="*/ 1557347 h 2561350"/>
                  <a:gd name="connsiteX16" fmla="*/ 239483 w 2066650"/>
                  <a:gd name="connsiteY16" fmla="*/ 1049619 h 2561350"/>
                  <a:gd name="connsiteX17" fmla="*/ 29065 w 2066650"/>
                  <a:gd name="connsiteY17" fmla="*/ 1005469 h 2561350"/>
                  <a:gd name="connsiteX18" fmla="*/ 100444 w 2066650"/>
                  <a:gd name="connsiteY18" fmla="*/ 369408 h 2561350"/>
                  <a:gd name="connsiteX19" fmla="*/ 826873 w 2066650"/>
                  <a:gd name="connsiteY19" fmla="*/ 389002 h 2561350"/>
                  <a:gd name="connsiteX20" fmla="*/ 791969 w 2066650"/>
                  <a:gd name="connsiteY20" fmla="*/ 283670 h 2561350"/>
                  <a:gd name="connsiteX21" fmla="*/ 1027712 w 2066650"/>
                  <a:gd name="connsiteY21" fmla="*/ 3 h 2561350"/>
                  <a:gd name="connsiteX0" fmla="*/ 1027712 w 2049409"/>
                  <a:gd name="connsiteY0" fmla="*/ 3 h 2561350"/>
                  <a:gd name="connsiteX1" fmla="*/ 1242025 w 2049409"/>
                  <a:gd name="connsiteY1" fmla="*/ 286050 h 2561350"/>
                  <a:gd name="connsiteX2" fmla="*/ 1219889 w 2049409"/>
                  <a:gd name="connsiteY2" fmla="*/ 389002 h 2561350"/>
                  <a:gd name="connsiteX3" fmla="*/ 1967384 w 2049409"/>
                  <a:gd name="connsiteY3" fmla="*/ 344364 h 2561350"/>
                  <a:gd name="connsiteX4" fmla="*/ 2049225 w 2049409"/>
                  <a:gd name="connsiteY4" fmla="*/ 926667 h 2561350"/>
                  <a:gd name="connsiteX5" fmla="*/ 1862717 w 2049409"/>
                  <a:gd name="connsiteY5" fmla="*/ 1056790 h 2561350"/>
                  <a:gd name="connsiteX6" fmla="*/ 1824721 w 2049409"/>
                  <a:gd name="connsiteY6" fmla="*/ 1531159 h 2561350"/>
                  <a:gd name="connsiteX7" fmla="*/ 2042416 w 2049409"/>
                  <a:gd name="connsiteY7" fmla="*/ 1619452 h 2561350"/>
                  <a:gd name="connsiteX8" fmla="*/ 1951283 w 2049409"/>
                  <a:gd name="connsiteY8" fmla="*/ 2180265 h 2561350"/>
                  <a:gd name="connsiteX9" fmla="*/ 1222152 w 2049409"/>
                  <a:gd name="connsiteY9" fmla="*/ 2167002 h 2561350"/>
                  <a:gd name="connsiteX10" fmla="*/ 1242025 w 2049409"/>
                  <a:gd name="connsiteY10" fmla="*/ 2275300 h 2561350"/>
                  <a:gd name="connsiteX11" fmla="*/ 791969 w 2049409"/>
                  <a:gd name="connsiteY11" fmla="*/ 2277680 h 2561350"/>
                  <a:gd name="connsiteX12" fmla="*/ 821902 w 2049409"/>
                  <a:gd name="connsiteY12" fmla="*/ 2167002 h 2561350"/>
                  <a:gd name="connsiteX13" fmla="*/ 128977 w 2049409"/>
                  <a:gd name="connsiteY13" fmla="*/ 2200159 h 2561350"/>
                  <a:gd name="connsiteX14" fmla="*/ 0 w 2049409"/>
                  <a:gd name="connsiteY14" fmla="*/ 1657531 h 2561350"/>
                  <a:gd name="connsiteX15" fmla="*/ 257433 w 2049409"/>
                  <a:gd name="connsiteY15" fmla="*/ 1557347 h 2561350"/>
                  <a:gd name="connsiteX16" fmla="*/ 239483 w 2049409"/>
                  <a:gd name="connsiteY16" fmla="*/ 1049619 h 2561350"/>
                  <a:gd name="connsiteX17" fmla="*/ 29065 w 2049409"/>
                  <a:gd name="connsiteY17" fmla="*/ 1005469 h 2561350"/>
                  <a:gd name="connsiteX18" fmla="*/ 100444 w 2049409"/>
                  <a:gd name="connsiteY18" fmla="*/ 369408 h 2561350"/>
                  <a:gd name="connsiteX19" fmla="*/ 826873 w 2049409"/>
                  <a:gd name="connsiteY19" fmla="*/ 389002 h 2561350"/>
                  <a:gd name="connsiteX20" fmla="*/ 791969 w 2049409"/>
                  <a:gd name="connsiteY20" fmla="*/ 283670 h 2561350"/>
                  <a:gd name="connsiteX21" fmla="*/ 1027712 w 2049409"/>
                  <a:gd name="connsiteY21" fmla="*/ 3 h 2561350"/>
                  <a:gd name="connsiteX0" fmla="*/ 1027712 w 2049338"/>
                  <a:gd name="connsiteY0" fmla="*/ 3 h 2561350"/>
                  <a:gd name="connsiteX1" fmla="*/ 1242025 w 2049338"/>
                  <a:gd name="connsiteY1" fmla="*/ 286050 h 2561350"/>
                  <a:gd name="connsiteX2" fmla="*/ 1219889 w 2049338"/>
                  <a:gd name="connsiteY2" fmla="*/ 389002 h 2561350"/>
                  <a:gd name="connsiteX3" fmla="*/ 1967384 w 2049338"/>
                  <a:gd name="connsiteY3" fmla="*/ 344364 h 2561350"/>
                  <a:gd name="connsiteX4" fmla="*/ 2049225 w 2049338"/>
                  <a:gd name="connsiteY4" fmla="*/ 926667 h 2561350"/>
                  <a:gd name="connsiteX5" fmla="*/ 1862717 w 2049338"/>
                  <a:gd name="connsiteY5" fmla="*/ 1056790 h 2561350"/>
                  <a:gd name="connsiteX6" fmla="*/ 1824721 w 2049338"/>
                  <a:gd name="connsiteY6" fmla="*/ 1531159 h 2561350"/>
                  <a:gd name="connsiteX7" fmla="*/ 2042416 w 2049338"/>
                  <a:gd name="connsiteY7" fmla="*/ 1619452 h 2561350"/>
                  <a:gd name="connsiteX8" fmla="*/ 1951283 w 2049338"/>
                  <a:gd name="connsiteY8" fmla="*/ 2180265 h 2561350"/>
                  <a:gd name="connsiteX9" fmla="*/ 1222152 w 2049338"/>
                  <a:gd name="connsiteY9" fmla="*/ 2167002 h 2561350"/>
                  <a:gd name="connsiteX10" fmla="*/ 1242025 w 2049338"/>
                  <a:gd name="connsiteY10" fmla="*/ 2275300 h 2561350"/>
                  <a:gd name="connsiteX11" fmla="*/ 791969 w 2049338"/>
                  <a:gd name="connsiteY11" fmla="*/ 2277680 h 2561350"/>
                  <a:gd name="connsiteX12" fmla="*/ 821902 w 2049338"/>
                  <a:gd name="connsiteY12" fmla="*/ 2167002 h 2561350"/>
                  <a:gd name="connsiteX13" fmla="*/ 128977 w 2049338"/>
                  <a:gd name="connsiteY13" fmla="*/ 2200159 h 2561350"/>
                  <a:gd name="connsiteX14" fmla="*/ 0 w 2049338"/>
                  <a:gd name="connsiteY14" fmla="*/ 1657531 h 2561350"/>
                  <a:gd name="connsiteX15" fmla="*/ 257433 w 2049338"/>
                  <a:gd name="connsiteY15" fmla="*/ 1557347 h 2561350"/>
                  <a:gd name="connsiteX16" fmla="*/ 239483 w 2049338"/>
                  <a:gd name="connsiteY16" fmla="*/ 1049619 h 2561350"/>
                  <a:gd name="connsiteX17" fmla="*/ 29065 w 2049338"/>
                  <a:gd name="connsiteY17" fmla="*/ 1005469 h 2561350"/>
                  <a:gd name="connsiteX18" fmla="*/ 100444 w 2049338"/>
                  <a:gd name="connsiteY18" fmla="*/ 369408 h 2561350"/>
                  <a:gd name="connsiteX19" fmla="*/ 826873 w 2049338"/>
                  <a:gd name="connsiteY19" fmla="*/ 389002 h 2561350"/>
                  <a:gd name="connsiteX20" fmla="*/ 791969 w 2049338"/>
                  <a:gd name="connsiteY20" fmla="*/ 283670 h 2561350"/>
                  <a:gd name="connsiteX21" fmla="*/ 1027712 w 2049338"/>
                  <a:gd name="connsiteY21" fmla="*/ 3 h 2561350"/>
                  <a:gd name="connsiteX0" fmla="*/ 1027712 w 2053522"/>
                  <a:gd name="connsiteY0" fmla="*/ 3 h 2561350"/>
                  <a:gd name="connsiteX1" fmla="*/ 1242025 w 2053522"/>
                  <a:gd name="connsiteY1" fmla="*/ 286050 h 2561350"/>
                  <a:gd name="connsiteX2" fmla="*/ 1219889 w 2053522"/>
                  <a:gd name="connsiteY2" fmla="*/ 389002 h 2561350"/>
                  <a:gd name="connsiteX3" fmla="*/ 1967384 w 2053522"/>
                  <a:gd name="connsiteY3" fmla="*/ 344364 h 2561350"/>
                  <a:gd name="connsiteX4" fmla="*/ 2049225 w 2053522"/>
                  <a:gd name="connsiteY4" fmla="*/ 926667 h 2561350"/>
                  <a:gd name="connsiteX5" fmla="*/ 1862717 w 2053522"/>
                  <a:gd name="connsiteY5" fmla="*/ 1056790 h 2561350"/>
                  <a:gd name="connsiteX6" fmla="*/ 1824721 w 2053522"/>
                  <a:gd name="connsiteY6" fmla="*/ 1531159 h 2561350"/>
                  <a:gd name="connsiteX7" fmla="*/ 2042416 w 2053522"/>
                  <a:gd name="connsiteY7" fmla="*/ 1619452 h 2561350"/>
                  <a:gd name="connsiteX8" fmla="*/ 1951283 w 2053522"/>
                  <a:gd name="connsiteY8" fmla="*/ 2180265 h 2561350"/>
                  <a:gd name="connsiteX9" fmla="*/ 1222152 w 2053522"/>
                  <a:gd name="connsiteY9" fmla="*/ 2167002 h 2561350"/>
                  <a:gd name="connsiteX10" fmla="*/ 1242025 w 2053522"/>
                  <a:gd name="connsiteY10" fmla="*/ 2275300 h 2561350"/>
                  <a:gd name="connsiteX11" fmla="*/ 791969 w 2053522"/>
                  <a:gd name="connsiteY11" fmla="*/ 2277680 h 2561350"/>
                  <a:gd name="connsiteX12" fmla="*/ 821902 w 2053522"/>
                  <a:gd name="connsiteY12" fmla="*/ 2167002 h 2561350"/>
                  <a:gd name="connsiteX13" fmla="*/ 128977 w 2053522"/>
                  <a:gd name="connsiteY13" fmla="*/ 2200159 h 2561350"/>
                  <a:gd name="connsiteX14" fmla="*/ 0 w 2053522"/>
                  <a:gd name="connsiteY14" fmla="*/ 1657531 h 2561350"/>
                  <a:gd name="connsiteX15" fmla="*/ 257433 w 2053522"/>
                  <a:gd name="connsiteY15" fmla="*/ 1557347 h 2561350"/>
                  <a:gd name="connsiteX16" fmla="*/ 239483 w 2053522"/>
                  <a:gd name="connsiteY16" fmla="*/ 1049619 h 2561350"/>
                  <a:gd name="connsiteX17" fmla="*/ 29065 w 2053522"/>
                  <a:gd name="connsiteY17" fmla="*/ 1005469 h 2561350"/>
                  <a:gd name="connsiteX18" fmla="*/ 100444 w 2053522"/>
                  <a:gd name="connsiteY18" fmla="*/ 369408 h 2561350"/>
                  <a:gd name="connsiteX19" fmla="*/ 826873 w 2053522"/>
                  <a:gd name="connsiteY19" fmla="*/ 389002 h 2561350"/>
                  <a:gd name="connsiteX20" fmla="*/ 791969 w 2053522"/>
                  <a:gd name="connsiteY20" fmla="*/ 283670 h 2561350"/>
                  <a:gd name="connsiteX21" fmla="*/ 1027712 w 2053522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6166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60129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40556" h="2561350">
                    <a:moveTo>
                      <a:pt x="1014747" y="3"/>
                    </a:moveTo>
                    <a:cubicBezTo>
                      <a:pt x="1183816" y="-691"/>
                      <a:pt x="1351799" y="120921"/>
                      <a:pt x="1229060" y="286050"/>
                    </a:cubicBezTo>
                    <a:cubicBezTo>
                      <a:pt x="1212950" y="315682"/>
                      <a:pt x="1201168" y="348101"/>
                      <a:pt x="1206924" y="389002"/>
                    </a:cubicBezTo>
                    <a:cubicBezTo>
                      <a:pt x="1211992" y="528261"/>
                      <a:pt x="1716654" y="452477"/>
                      <a:pt x="1954419" y="344364"/>
                    </a:cubicBezTo>
                    <a:cubicBezTo>
                      <a:pt x="1970498" y="474789"/>
                      <a:pt x="2061145" y="783619"/>
                      <a:pt x="2036260" y="926667"/>
                    </a:cubicBezTo>
                    <a:cubicBezTo>
                      <a:pt x="2027166" y="1024060"/>
                      <a:pt x="1970476" y="1153289"/>
                      <a:pt x="1849752" y="1060129"/>
                    </a:cubicBezTo>
                    <a:cubicBezTo>
                      <a:pt x="1475468" y="853624"/>
                      <a:pt x="1487545" y="1649324"/>
                      <a:pt x="1811756" y="1531159"/>
                    </a:cubicBezTo>
                    <a:cubicBezTo>
                      <a:pt x="1923754" y="1469515"/>
                      <a:pt x="1987209" y="1400411"/>
                      <a:pt x="2036129" y="1616113"/>
                    </a:cubicBezTo>
                    <a:cubicBezTo>
                      <a:pt x="2051136" y="1730790"/>
                      <a:pt x="1956393" y="2051666"/>
                      <a:pt x="1938318" y="2180265"/>
                    </a:cubicBezTo>
                    <a:cubicBezTo>
                      <a:pt x="1741694" y="2153739"/>
                      <a:pt x="1359392" y="2007849"/>
                      <a:pt x="1209187" y="2167002"/>
                    </a:cubicBezTo>
                    <a:cubicBezTo>
                      <a:pt x="1195706" y="2193452"/>
                      <a:pt x="1198508" y="2230274"/>
                      <a:pt x="1229060" y="2275300"/>
                    </a:cubicBezTo>
                    <a:cubicBezTo>
                      <a:pt x="1469566" y="2660267"/>
                      <a:pt x="567071" y="2652331"/>
                      <a:pt x="779004" y="2277680"/>
                    </a:cubicBezTo>
                    <a:cubicBezTo>
                      <a:pt x="817979" y="2223379"/>
                      <a:pt x="825787" y="2190096"/>
                      <a:pt x="808937" y="2167002"/>
                    </a:cubicBezTo>
                    <a:cubicBezTo>
                      <a:pt x="706169" y="2021111"/>
                      <a:pt x="364670" y="2147108"/>
                      <a:pt x="116012" y="2200159"/>
                    </a:cubicBezTo>
                    <a:cubicBezTo>
                      <a:pt x="57942" y="2073996"/>
                      <a:pt x="976" y="1794778"/>
                      <a:pt x="0" y="1657530"/>
                    </a:cubicBezTo>
                    <a:cubicBezTo>
                      <a:pt x="23569" y="1399547"/>
                      <a:pt x="142648" y="1475748"/>
                      <a:pt x="248790" y="1539671"/>
                    </a:cubicBezTo>
                    <a:cubicBezTo>
                      <a:pt x="563771" y="1555589"/>
                      <a:pt x="485163" y="925406"/>
                      <a:pt x="226518" y="1049619"/>
                    </a:cubicBezTo>
                    <a:cubicBezTo>
                      <a:pt x="150003" y="1086365"/>
                      <a:pt x="56561" y="1164379"/>
                      <a:pt x="16100" y="1005469"/>
                    </a:cubicBezTo>
                    <a:cubicBezTo>
                      <a:pt x="-32993" y="864734"/>
                      <a:pt x="47286" y="478570"/>
                      <a:pt x="87479" y="369408"/>
                    </a:cubicBezTo>
                    <a:cubicBezTo>
                      <a:pt x="483685" y="502036"/>
                      <a:pt x="775797" y="488473"/>
                      <a:pt x="813908" y="389002"/>
                    </a:cubicBezTo>
                    <a:cubicBezTo>
                      <a:pt x="824229" y="365427"/>
                      <a:pt x="814657" y="333342"/>
                      <a:pt x="779004" y="283670"/>
                    </a:cubicBezTo>
                    <a:cubicBezTo>
                      <a:pt x="673038" y="96344"/>
                      <a:pt x="845678" y="698"/>
                      <a:pt x="1014747" y="3"/>
                    </a:cubicBezTo>
                    <a:close/>
                  </a:path>
                </a:pathLst>
              </a:custGeom>
              <a:solidFill>
                <a:srgbClr val="A4A4A4"/>
              </a:solidFill>
              <a:ln w="9525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5" name="Group 134"/>
            <p:cNvGrpSpPr/>
            <p:nvPr/>
          </p:nvGrpSpPr>
          <p:grpSpPr>
            <a:xfrm>
              <a:off x="7071315" y="2004110"/>
              <a:ext cx="415498" cy="3247256"/>
              <a:chOff x="4331486" y="2004110"/>
              <a:chExt cx="415498" cy="3247256"/>
            </a:xfrm>
          </p:grpSpPr>
          <p:sp>
            <p:nvSpPr>
              <p:cNvPr id="136" name="TextBox 135"/>
              <p:cNvSpPr txBox="1"/>
              <p:nvPr/>
            </p:nvSpPr>
            <p:spPr>
              <a:xfrm rot="16200000">
                <a:off x="3992332" y="2343264"/>
                <a:ext cx="1093805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Transaction</a:t>
                </a:r>
              </a:p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Method</a:t>
                </a:r>
              </a:p>
            </p:txBody>
          </p:sp>
          <p:sp>
            <p:nvSpPr>
              <p:cNvPr id="137" name="TextBox 136"/>
              <p:cNvSpPr txBox="1"/>
              <p:nvPr/>
            </p:nvSpPr>
            <p:spPr>
              <a:xfrm rot="16200000">
                <a:off x="4049910" y="3543106"/>
                <a:ext cx="985615" cy="2539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ge</a:t>
                </a: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 rot="16200000">
                <a:off x="4040324" y="4671128"/>
                <a:ext cx="906561" cy="2539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Tenure</a:t>
                </a:r>
              </a:p>
            </p:txBody>
          </p:sp>
        </p:grpSp>
      </p:grpSp>
      <p:sp>
        <p:nvSpPr>
          <p:cNvPr id="150" name="Rectangle 5"/>
          <p:cNvSpPr/>
          <p:nvPr/>
        </p:nvSpPr>
        <p:spPr>
          <a:xfrm rot="5400000" flipV="1">
            <a:off x="6190893" y="2459221"/>
            <a:ext cx="1289749" cy="1571613"/>
          </a:xfrm>
          <a:custGeom>
            <a:avLst/>
            <a:gdLst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949187"/>
              <a:gd name="connsiteY0" fmla="*/ 3 h 2561350"/>
              <a:gd name="connsiteX1" fmla="*/ 1132942 w 1949187"/>
              <a:gd name="connsiteY1" fmla="*/ 286050 h 2561350"/>
              <a:gd name="connsiteX2" fmla="*/ 1110806 w 1949187"/>
              <a:gd name="connsiteY2" fmla="*/ 389002 h 2561350"/>
              <a:gd name="connsiteX3" fmla="*/ 1862094 w 1949187"/>
              <a:gd name="connsiteY3" fmla="*/ 369108 h 2561350"/>
              <a:gd name="connsiteX4" fmla="*/ 1842200 w 1949187"/>
              <a:gd name="connsiteY4" fmla="*/ 1063389 h 2561350"/>
              <a:gd name="connsiteX5" fmla="*/ 1752882 w 1949187"/>
              <a:gd name="connsiteY5" fmla="*/ 1037347 h 2561350"/>
              <a:gd name="connsiteX6" fmla="*/ 1750502 w 1949187"/>
              <a:gd name="connsiteY6" fmla="*/ 1487403 h 2561350"/>
              <a:gd name="connsiteX7" fmla="*/ 1842200 w 1949187"/>
              <a:gd name="connsiteY7" fmla="*/ 1449629 h 2561350"/>
              <a:gd name="connsiteX8" fmla="*/ 1842200 w 1949187"/>
              <a:gd name="connsiteY8" fmla="*/ 2167002 h 2561350"/>
              <a:gd name="connsiteX9" fmla="*/ 1113069 w 1949187"/>
              <a:gd name="connsiteY9" fmla="*/ 2167002 h 2561350"/>
              <a:gd name="connsiteX10" fmla="*/ 1132942 w 1949187"/>
              <a:gd name="connsiteY10" fmla="*/ 2275300 h 2561350"/>
              <a:gd name="connsiteX11" fmla="*/ 682886 w 1949187"/>
              <a:gd name="connsiteY11" fmla="*/ 2277680 h 2561350"/>
              <a:gd name="connsiteX12" fmla="*/ 712819 w 1949187"/>
              <a:gd name="connsiteY12" fmla="*/ 2167002 h 2561350"/>
              <a:gd name="connsiteX13" fmla="*/ 46420 w 1949187"/>
              <a:gd name="connsiteY13" fmla="*/ 2167002 h 2561350"/>
              <a:gd name="connsiteX14" fmla="*/ 46420 w 1949187"/>
              <a:gd name="connsiteY14" fmla="*/ 1458174 h 2561350"/>
              <a:gd name="connsiteX15" fmla="*/ 141419 w 1949187"/>
              <a:gd name="connsiteY15" fmla="*/ 1495354 h 2561350"/>
              <a:gd name="connsiteX16" fmla="*/ 139039 w 1949187"/>
              <a:gd name="connsiteY16" fmla="*/ 1045298 h 2561350"/>
              <a:gd name="connsiteX17" fmla="*/ 46420 w 1949187"/>
              <a:gd name="connsiteY17" fmla="*/ 1071146 h 2561350"/>
              <a:gd name="connsiteX18" fmla="*/ 0 w 1949187"/>
              <a:gd name="connsiteY18" fmla="*/ 382371 h 2561350"/>
              <a:gd name="connsiteX19" fmla="*/ 717790 w 1949187"/>
              <a:gd name="connsiteY19" fmla="*/ 389002 h 2561350"/>
              <a:gd name="connsiteX20" fmla="*/ 682886 w 1949187"/>
              <a:gd name="connsiteY20" fmla="*/ 283670 h 2561350"/>
              <a:gd name="connsiteX21" fmla="*/ 918629 w 1949187"/>
              <a:gd name="connsiteY21" fmla="*/ 3 h 2561350"/>
              <a:gd name="connsiteX0" fmla="*/ 918629 w 1966660"/>
              <a:gd name="connsiteY0" fmla="*/ 3 h 2561350"/>
              <a:gd name="connsiteX1" fmla="*/ 1132942 w 1966660"/>
              <a:gd name="connsiteY1" fmla="*/ 286050 h 2561350"/>
              <a:gd name="connsiteX2" fmla="*/ 1110806 w 1966660"/>
              <a:gd name="connsiteY2" fmla="*/ 389002 h 2561350"/>
              <a:gd name="connsiteX3" fmla="*/ 1862094 w 1966660"/>
              <a:gd name="connsiteY3" fmla="*/ 369108 h 2561350"/>
              <a:gd name="connsiteX4" fmla="*/ 1842200 w 1966660"/>
              <a:gd name="connsiteY4" fmla="*/ 1063389 h 2561350"/>
              <a:gd name="connsiteX5" fmla="*/ 1752882 w 1966660"/>
              <a:gd name="connsiteY5" fmla="*/ 1037347 h 2561350"/>
              <a:gd name="connsiteX6" fmla="*/ 1750502 w 1966660"/>
              <a:gd name="connsiteY6" fmla="*/ 1487403 h 2561350"/>
              <a:gd name="connsiteX7" fmla="*/ 1842200 w 1966660"/>
              <a:gd name="connsiteY7" fmla="*/ 1449629 h 2561350"/>
              <a:gd name="connsiteX8" fmla="*/ 1842200 w 1966660"/>
              <a:gd name="connsiteY8" fmla="*/ 2167002 h 2561350"/>
              <a:gd name="connsiteX9" fmla="*/ 1113069 w 1966660"/>
              <a:gd name="connsiteY9" fmla="*/ 2167002 h 2561350"/>
              <a:gd name="connsiteX10" fmla="*/ 1132942 w 1966660"/>
              <a:gd name="connsiteY10" fmla="*/ 2275300 h 2561350"/>
              <a:gd name="connsiteX11" fmla="*/ 682886 w 1966660"/>
              <a:gd name="connsiteY11" fmla="*/ 2277680 h 2561350"/>
              <a:gd name="connsiteX12" fmla="*/ 712819 w 1966660"/>
              <a:gd name="connsiteY12" fmla="*/ 2167002 h 2561350"/>
              <a:gd name="connsiteX13" fmla="*/ 46420 w 1966660"/>
              <a:gd name="connsiteY13" fmla="*/ 2167002 h 2561350"/>
              <a:gd name="connsiteX14" fmla="*/ 46420 w 1966660"/>
              <a:gd name="connsiteY14" fmla="*/ 1458174 h 2561350"/>
              <a:gd name="connsiteX15" fmla="*/ 141419 w 1966660"/>
              <a:gd name="connsiteY15" fmla="*/ 1495354 h 2561350"/>
              <a:gd name="connsiteX16" fmla="*/ 139039 w 1966660"/>
              <a:gd name="connsiteY16" fmla="*/ 1045298 h 2561350"/>
              <a:gd name="connsiteX17" fmla="*/ 46420 w 1966660"/>
              <a:gd name="connsiteY17" fmla="*/ 1071146 h 2561350"/>
              <a:gd name="connsiteX18" fmla="*/ 0 w 1966660"/>
              <a:gd name="connsiteY18" fmla="*/ 382371 h 2561350"/>
              <a:gd name="connsiteX19" fmla="*/ 717790 w 1966660"/>
              <a:gd name="connsiteY19" fmla="*/ 389002 h 2561350"/>
              <a:gd name="connsiteX20" fmla="*/ 682886 w 1966660"/>
              <a:gd name="connsiteY20" fmla="*/ 283670 h 2561350"/>
              <a:gd name="connsiteX21" fmla="*/ 918629 w 1966660"/>
              <a:gd name="connsiteY21" fmla="*/ 3 h 2561350"/>
              <a:gd name="connsiteX0" fmla="*/ 1023861 w 2071892"/>
              <a:gd name="connsiteY0" fmla="*/ 3 h 2561350"/>
              <a:gd name="connsiteX1" fmla="*/ 1238174 w 2071892"/>
              <a:gd name="connsiteY1" fmla="*/ 286050 h 2561350"/>
              <a:gd name="connsiteX2" fmla="*/ 1216038 w 2071892"/>
              <a:gd name="connsiteY2" fmla="*/ 389002 h 2561350"/>
              <a:gd name="connsiteX3" fmla="*/ 1967326 w 2071892"/>
              <a:gd name="connsiteY3" fmla="*/ 369108 h 2561350"/>
              <a:gd name="connsiteX4" fmla="*/ 1947432 w 2071892"/>
              <a:gd name="connsiteY4" fmla="*/ 1063389 h 2561350"/>
              <a:gd name="connsiteX5" fmla="*/ 1858114 w 2071892"/>
              <a:gd name="connsiteY5" fmla="*/ 1037347 h 2561350"/>
              <a:gd name="connsiteX6" fmla="*/ 1855734 w 2071892"/>
              <a:gd name="connsiteY6" fmla="*/ 1487403 h 2561350"/>
              <a:gd name="connsiteX7" fmla="*/ 1947432 w 2071892"/>
              <a:gd name="connsiteY7" fmla="*/ 1449629 h 2561350"/>
              <a:gd name="connsiteX8" fmla="*/ 1947432 w 2071892"/>
              <a:gd name="connsiteY8" fmla="*/ 2167002 h 2561350"/>
              <a:gd name="connsiteX9" fmla="*/ 1218301 w 2071892"/>
              <a:gd name="connsiteY9" fmla="*/ 2167002 h 2561350"/>
              <a:gd name="connsiteX10" fmla="*/ 1238174 w 2071892"/>
              <a:gd name="connsiteY10" fmla="*/ 2275300 h 2561350"/>
              <a:gd name="connsiteX11" fmla="*/ 788118 w 2071892"/>
              <a:gd name="connsiteY11" fmla="*/ 2277680 h 2561350"/>
              <a:gd name="connsiteX12" fmla="*/ 818051 w 2071892"/>
              <a:gd name="connsiteY12" fmla="*/ 2167002 h 2561350"/>
              <a:gd name="connsiteX13" fmla="*/ 151652 w 2071892"/>
              <a:gd name="connsiteY13" fmla="*/ 2167002 h 2561350"/>
              <a:gd name="connsiteX14" fmla="*/ 151652 w 2071892"/>
              <a:gd name="connsiteY14" fmla="*/ 1458174 h 2561350"/>
              <a:gd name="connsiteX15" fmla="*/ 246651 w 2071892"/>
              <a:gd name="connsiteY15" fmla="*/ 1495354 h 2561350"/>
              <a:gd name="connsiteX16" fmla="*/ 244271 w 2071892"/>
              <a:gd name="connsiteY16" fmla="*/ 1045298 h 2561350"/>
              <a:gd name="connsiteX17" fmla="*/ 151652 w 2071892"/>
              <a:gd name="connsiteY17" fmla="*/ 1071146 h 2561350"/>
              <a:gd name="connsiteX18" fmla="*/ 105232 w 2071892"/>
              <a:gd name="connsiteY18" fmla="*/ 382371 h 2561350"/>
              <a:gd name="connsiteX19" fmla="*/ 823022 w 2071892"/>
              <a:gd name="connsiteY19" fmla="*/ 389002 h 2561350"/>
              <a:gd name="connsiteX20" fmla="*/ 788118 w 2071892"/>
              <a:gd name="connsiteY20" fmla="*/ 283670 h 2561350"/>
              <a:gd name="connsiteX21" fmla="*/ 1023861 w 2071892"/>
              <a:gd name="connsiteY21" fmla="*/ 3 h 2561350"/>
              <a:gd name="connsiteX0" fmla="*/ 1039756 w 2087787"/>
              <a:gd name="connsiteY0" fmla="*/ 3 h 2561350"/>
              <a:gd name="connsiteX1" fmla="*/ 1254069 w 2087787"/>
              <a:gd name="connsiteY1" fmla="*/ 286050 h 2561350"/>
              <a:gd name="connsiteX2" fmla="*/ 1231933 w 2087787"/>
              <a:gd name="connsiteY2" fmla="*/ 389002 h 2561350"/>
              <a:gd name="connsiteX3" fmla="*/ 1983221 w 2087787"/>
              <a:gd name="connsiteY3" fmla="*/ 369108 h 2561350"/>
              <a:gd name="connsiteX4" fmla="*/ 1963327 w 2087787"/>
              <a:gd name="connsiteY4" fmla="*/ 1063389 h 2561350"/>
              <a:gd name="connsiteX5" fmla="*/ 1874009 w 2087787"/>
              <a:gd name="connsiteY5" fmla="*/ 1037347 h 2561350"/>
              <a:gd name="connsiteX6" fmla="*/ 1871629 w 2087787"/>
              <a:gd name="connsiteY6" fmla="*/ 1487403 h 2561350"/>
              <a:gd name="connsiteX7" fmla="*/ 1963327 w 2087787"/>
              <a:gd name="connsiteY7" fmla="*/ 1449629 h 2561350"/>
              <a:gd name="connsiteX8" fmla="*/ 1963327 w 2087787"/>
              <a:gd name="connsiteY8" fmla="*/ 2167002 h 2561350"/>
              <a:gd name="connsiteX9" fmla="*/ 1234196 w 2087787"/>
              <a:gd name="connsiteY9" fmla="*/ 2167002 h 2561350"/>
              <a:gd name="connsiteX10" fmla="*/ 1254069 w 2087787"/>
              <a:gd name="connsiteY10" fmla="*/ 2275300 h 2561350"/>
              <a:gd name="connsiteX11" fmla="*/ 804013 w 2087787"/>
              <a:gd name="connsiteY11" fmla="*/ 2277680 h 2561350"/>
              <a:gd name="connsiteX12" fmla="*/ 833946 w 2087787"/>
              <a:gd name="connsiteY12" fmla="*/ 2167002 h 2561350"/>
              <a:gd name="connsiteX13" fmla="*/ 167547 w 2087787"/>
              <a:gd name="connsiteY13" fmla="*/ 2167002 h 2561350"/>
              <a:gd name="connsiteX14" fmla="*/ 167547 w 2087787"/>
              <a:gd name="connsiteY14" fmla="*/ 1458174 h 2561350"/>
              <a:gd name="connsiteX15" fmla="*/ 262546 w 2087787"/>
              <a:gd name="connsiteY15" fmla="*/ 1495354 h 2561350"/>
              <a:gd name="connsiteX16" fmla="*/ 260166 w 2087787"/>
              <a:gd name="connsiteY16" fmla="*/ 1045298 h 2561350"/>
              <a:gd name="connsiteX17" fmla="*/ 167547 w 2087787"/>
              <a:gd name="connsiteY17" fmla="*/ 1071146 h 2561350"/>
              <a:gd name="connsiteX18" fmla="*/ 121127 w 2087787"/>
              <a:gd name="connsiteY18" fmla="*/ 382371 h 2561350"/>
              <a:gd name="connsiteX19" fmla="*/ 838917 w 2087787"/>
              <a:gd name="connsiteY19" fmla="*/ 389002 h 2561350"/>
              <a:gd name="connsiteX20" fmla="*/ 804013 w 2087787"/>
              <a:gd name="connsiteY20" fmla="*/ 283670 h 2561350"/>
              <a:gd name="connsiteX21" fmla="*/ 1039756 w 2087787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88885"/>
              <a:gd name="connsiteY0" fmla="*/ 3 h 2561350"/>
              <a:gd name="connsiteX1" fmla="*/ 1239747 w 2088885"/>
              <a:gd name="connsiteY1" fmla="*/ 286050 h 2561350"/>
              <a:gd name="connsiteX2" fmla="*/ 1217611 w 2088885"/>
              <a:gd name="connsiteY2" fmla="*/ 389002 h 2561350"/>
              <a:gd name="connsiteX3" fmla="*/ 1968899 w 2088885"/>
              <a:gd name="connsiteY3" fmla="*/ 369108 h 2561350"/>
              <a:gd name="connsiteX4" fmla="*/ 1949005 w 2088885"/>
              <a:gd name="connsiteY4" fmla="*/ 1063389 h 2561350"/>
              <a:gd name="connsiteX5" fmla="*/ 1859687 w 2088885"/>
              <a:gd name="connsiteY5" fmla="*/ 1037347 h 2561350"/>
              <a:gd name="connsiteX6" fmla="*/ 1857307 w 2088885"/>
              <a:gd name="connsiteY6" fmla="*/ 1487403 h 2561350"/>
              <a:gd name="connsiteX7" fmla="*/ 1949005 w 2088885"/>
              <a:gd name="connsiteY7" fmla="*/ 1449629 h 2561350"/>
              <a:gd name="connsiteX8" fmla="*/ 1949005 w 2088885"/>
              <a:gd name="connsiteY8" fmla="*/ 2167002 h 2561350"/>
              <a:gd name="connsiteX9" fmla="*/ 1219874 w 2088885"/>
              <a:gd name="connsiteY9" fmla="*/ 2167002 h 2561350"/>
              <a:gd name="connsiteX10" fmla="*/ 1239747 w 2088885"/>
              <a:gd name="connsiteY10" fmla="*/ 2275300 h 2561350"/>
              <a:gd name="connsiteX11" fmla="*/ 789691 w 2088885"/>
              <a:gd name="connsiteY11" fmla="*/ 2277680 h 2561350"/>
              <a:gd name="connsiteX12" fmla="*/ 819624 w 2088885"/>
              <a:gd name="connsiteY12" fmla="*/ 2167002 h 2561350"/>
              <a:gd name="connsiteX13" fmla="*/ 153225 w 2088885"/>
              <a:gd name="connsiteY13" fmla="*/ 2167002 h 2561350"/>
              <a:gd name="connsiteX14" fmla="*/ 153225 w 2088885"/>
              <a:gd name="connsiteY14" fmla="*/ 1458174 h 2561350"/>
              <a:gd name="connsiteX15" fmla="*/ 248224 w 2088885"/>
              <a:gd name="connsiteY15" fmla="*/ 1495354 h 2561350"/>
              <a:gd name="connsiteX16" fmla="*/ 245844 w 2088885"/>
              <a:gd name="connsiteY16" fmla="*/ 1045298 h 2561350"/>
              <a:gd name="connsiteX17" fmla="*/ 153225 w 2088885"/>
              <a:gd name="connsiteY17" fmla="*/ 1071146 h 2561350"/>
              <a:gd name="connsiteX18" fmla="*/ 106805 w 2088885"/>
              <a:gd name="connsiteY18" fmla="*/ 382371 h 2561350"/>
              <a:gd name="connsiteX19" fmla="*/ 824595 w 2088885"/>
              <a:gd name="connsiteY19" fmla="*/ 389002 h 2561350"/>
              <a:gd name="connsiteX20" fmla="*/ 789691 w 2088885"/>
              <a:gd name="connsiteY20" fmla="*/ 283670 h 2561350"/>
              <a:gd name="connsiteX21" fmla="*/ 1025434 w 208888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102756"/>
              <a:gd name="connsiteY0" fmla="*/ 3 h 2561350"/>
              <a:gd name="connsiteX1" fmla="*/ 1239747 w 2102756"/>
              <a:gd name="connsiteY1" fmla="*/ 286050 h 2561350"/>
              <a:gd name="connsiteX2" fmla="*/ 1217611 w 2102756"/>
              <a:gd name="connsiteY2" fmla="*/ 389002 h 2561350"/>
              <a:gd name="connsiteX3" fmla="*/ 1968899 w 2102756"/>
              <a:gd name="connsiteY3" fmla="*/ 369108 h 2561350"/>
              <a:gd name="connsiteX4" fmla="*/ 1949005 w 2102756"/>
              <a:gd name="connsiteY4" fmla="*/ 1063389 h 2561350"/>
              <a:gd name="connsiteX5" fmla="*/ 1859687 w 2102756"/>
              <a:gd name="connsiteY5" fmla="*/ 1037347 h 2561350"/>
              <a:gd name="connsiteX6" fmla="*/ 1857307 w 2102756"/>
              <a:gd name="connsiteY6" fmla="*/ 1487403 h 2561350"/>
              <a:gd name="connsiteX7" fmla="*/ 1995425 w 2102756"/>
              <a:gd name="connsiteY7" fmla="*/ 1456260 h 2561350"/>
              <a:gd name="connsiteX8" fmla="*/ 1949005 w 2102756"/>
              <a:gd name="connsiteY8" fmla="*/ 2167002 h 2561350"/>
              <a:gd name="connsiteX9" fmla="*/ 1219874 w 2102756"/>
              <a:gd name="connsiteY9" fmla="*/ 2167002 h 2561350"/>
              <a:gd name="connsiteX10" fmla="*/ 1239747 w 2102756"/>
              <a:gd name="connsiteY10" fmla="*/ 2275300 h 2561350"/>
              <a:gd name="connsiteX11" fmla="*/ 789691 w 2102756"/>
              <a:gd name="connsiteY11" fmla="*/ 2277680 h 2561350"/>
              <a:gd name="connsiteX12" fmla="*/ 819624 w 2102756"/>
              <a:gd name="connsiteY12" fmla="*/ 2167002 h 2561350"/>
              <a:gd name="connsiteX13" fmla="*/ 153225 w 2102756"/>
              <a:gd name="connsiteY13" fmla="*/ 2167002 h 2561350"/>
              <a:gd name="connsiteX14" fmla="*/ 153225 w 2102756"/>
              <a:gd name="connsiteY14" fmla="*/ 1458174 h 2561350"/>
              <a:gd name="connsiteX15" fmla="*/ 248224 w 2102756"/>
              <a:gd name="connsiteY15" fmla="*/ 1495354 h 2561350"/>
              <a:gd name="connsiteX16" fmla="*/ 245844 w 2102756"/>
              <a:gd name="connsiteY16" fmla="*/ 1045298 h 2561350"/>
              <a:gd name="connsiteX17" fmla="*/ 153225 w 2102756"/>
              <a:gd name="connsiteY17" fmla="*/ 1071146 h 2561350"/>
              <a:gd name="connsiteX18" fmla="*/ 106805 w 2102756"/>
              <a:gd name="connsiteY18" fmla="*/ 382371 h 2561350"/>
              <a:gd name="connsiteX19" fmla="*/ 824595 w 2102756"/>
              <a:gd name="connsiteY19" fmla="*/ 389002 h 2561350"/>
              <a:gd name="connsiteX20" fmla="*/ 789691 w 2102756"/>
              <a:gd name="connsiteY20" fmla="*/ 283670 h 2561350"/>
              <a:gd name="connsiteX21" fmla="*/ 1025434 w 2102756"/>
              <a:gd name="connsiteY21" fmla="*/ 3 h 2561350"/>
              <a:gd name="connsiteX0" fmla="*/ 1025434 w 2076232"/>
              <a:gd name="connsiteY0" fmla="*/ 3 h 2561350"/>
              <a:gd name="connsiteX1" fmla="*/ 1239747 w 2076232"/>
              <a:gd name="connsiteY1" fmla="*/ 286050 h 2561350"/>
              <a:gd name="connsiteX2" fmla="*/ 1217611 w 2076232"/>
              <a:gd name="connsiteY2" fmla="*/ 389002 h 2561350"/>
              <a:gd name="connsiteX3" fmla="*/ 1968899 w 2076232"/>
              <a:gd name="connsiteY3" fmla="*/ 369108 h 2561350"/>
              <a:gd name="connsiteX4" fmla="*/ 1949005 w 2076232"/>
              <a:gd name="connsiteY4" fmla="*/ 1063389 h 2561350"/>
              <a:gd name="connsiteX5" fmla="*/ 1859687 w 2076232"/>
              <a:gd name="connsiteY5" fmla="*/ 1037347 h 2561350"/>
              <a:gd name="connsiteX6" fmla="*/ 1857307 w 2076232"/>
              <a:gd name="connsiteY6" fmla="*/ 1487403 h 2561350"/>
              <a:gd name="connsiteX7" fmla="*/ 1995425 w 2076232"/>
              <a:gd name="connsiteY7" fmla="*/ 1456260 h 2561350"/>
              <a:gd name="connsiteX8" fmla="*/ 1949005 w 2076232"/>
              <a:gd name="connsiteY8" fmla="*/ 2167002 h 2561350"/>
              <a:gd name="connsiteX9" fmla="*/ 1219874 w 2076232"/>
              <a:gd name="connsiteY9" fmla="*/ 2167002 h 2561350"/>
              <a:gd name="connsiteX10" fmla="*/ 1239747 w 2076232"/>
              <a:gd name="connsiteY10" fmla="*/ 2275300 h 2561350"/>
              <a:gd name="connsiteX11" fmla="*/ 789691 w 2076232"/>
              <a:gd name="connsiteY11" fmla="*/ 2277680 h 2561350"/>
              <a:gd name="connsiteX12" fmla="*/ 819624 w 2076232"/>
              <a:gd name="connsiteY12" fmla="*/ 2167002 h 2561350"/>
              <a:gd name="connsiteX13" fmla="*/ 153225 w 2076232"/>
              <a:gd name="connsiteY13" fmla="*/ 2167002 h 2561350"/>
              <a:gd name="connsiteX14" fmla="*/ 153225 w 2076232"/>
              <a:gd name="connsiteY14" fmla="*/ 1458174 h 2561350"/>
              <a:gd name="connsiteX15" fmla="*/ 248224 w 2076232"/>
              <a:gd name="connsiteY15" fmla="*/ 1495354 h 2561350"/>
              <a:gd name="connsiteX16" fmla="*/ 245844 w 2076232"/>
              <a:gd name="connsiteY16" fmla="*/ 1045298 h 2561350"/>
              <a:gd name="connsiteX17" fmla="*/ 153225 w 2076232"/>
              <a:gd name="connsiteY17" fmla="*/ 1071146 h 2561350"/>
              <a:gd name="connsiteX18" fmla="*/ 106805 w 2076232"/>
              <a:gd name="connsiteY18" fmla="*/ 382371 h 2561350"/>
              <a:gd name="connsiteX19" fmla="*/ 824595 w 2076232"/>
              <a:gd name="connsiteY19" fmla="*/ 389002 h 2561350"/>
              <a:gd name="connsiteX20" fmla="*/ 789691 w 2076232"/>
              <a:gd name="connsiteY20" fmla="*/ 283670 h 2561350"/>
              <a:gd name="connsiteX21" fmla="*/ 1025434 w 2076232"/>
              <a:gd name="connsiteY21" fmla="*/ 3 h 2561350"/>
              <a:gd name="connsiteX0" fmla="*/ 1025434 w 2077711"/>
              <a:gd name="connsiteY0" fmla="*/ 3 h 2561350"/>
              <a:gd name="connsiteX1" fmla="*/ 1239747 w 2077711"/>
              <a:gd name="connsiteY1" fmla="*/ 286050 h 2561350"/>
              <a:gd name="connsiteX2" fmla="*/ 1217611 w 2077711"/>
              <a:gd name="connsiteY2" fmla="*/ 389002 h 2561350"/>
              <a:gd name="connsiteX3" fmla="*/ 1968899 w 2077711"/>
              <a:gd name="connsiteY3" fmla="*/ 369108 h 2561350"/>
              <a:gd name="connsiteX4" fmla="*/ 1949005 w 2077711"/>
              <a:gd name="connsiteY4" fmla="*/ 1063389 h 2561350"/>
              <a:gd name="connsiteX5" fmla="*/ 1859687 w 2077711"/>
              <a:gd name="connsiteY5" fmla="*/ 1037347 h 2561350"/>
              <a:gd name="connsiteX6" fmla="*/ 1857307 w 2077711"/>
              <a:gd name="connsiteY6" fmla="*/ 1487403 h 2561350"/>
              <a:gd name="connsiteX7" fmla="*/ 1995425 w 2077711"/>
              <a:gd name="connsiteY7" fmla="*/ 1456260 h 2561350"/>
              <a:gd name="connsiteX8" fmla="*/ 1949005 w 2077711"/>
              <a:gd name="connsiteY8" fmla="*/ 2167002 h 2561350"/>
              <a:gd name="connsiteX9" fmla="*/ 1219874 w 2077711"/>
              <a:gd name="connsiteY9" fmla="*/ 2167002 h 2561350"/>
              <a:gd name="connsiteX10" fmla="*/ 1239747 w 2077711"/>
              <a:gd name="connsiteY10" fmla="*/ 2275300 h 2561350"/>
              <a:gd name="connsiteX11" fmla="*/ 789691 w 2077711"/>
              <a:gd name="connsiteY11" fmla="*/ 2277680 h 2561350"/>
              <a:gd name="connsiteX12" fmla="*/ 819624 w 2077711"/>
              <a:gd name="connsiteY12" fmla="*/ 2167002 h 2561350"/>
              <a:gd name="connsiteX13" fmla="*/ 153225 w 2077711"/>
              <a:gd name="connsiteY13" fmla="*/ 2167002 h 2561350"/>
              <a:gd name="connsiteX14" fmla="*/ 153225 w 2077711"/>
              <a:gd name="connsiteY14" fmla="*/ 1458174 h 2561350"/>
              <a:gd name="connsiteX15" fmla="*/ 248224 w 2077711"/>
              <a:gd name="connsiteY15" fmla="*/ 1495354 h 2561350"/>
              <a:gd name="connsiteX16" fmla="*/ 245844 w 2077711"/>
              <a:gd name="connsiteY16" fmla="*/ 1045298 h 2561350"/>
              <a:gd name="connsiteX17" fmla="*/ 153225 w 2077711"/>
              <a:gd name="connsiteY17" fmla="*/ 1071146 h 2561350"/>
              <a:gd name="connsiteX18" fmla="*/ 106805 w 2077711"/>
              <a:gd name="connsiteY18" fmla="*/ 382371 h 2561350"/>
              <a:gd name="connsiteX19" fmla="*/ 824595 w 2077711"/>
              <a:gd name="connsiteY19" fmla="*/ 389002 h 2561350"/>
              <a:gd name="connsiteX20" fmla="*/ 789691 w 2077711"/>
              <a:gd name="connsiteY20" fmla="*/ 283670 h 2561350"/>
              <a:gd name="connsiteX21" fmla="*/ 1025434 w 2077711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13436 w 2082173"/>
              <a:gd name="connsiteY14" fmla="*/ 1511225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38495 w 2095234"/>
              <a:gd name="connsiteY0" fmla="*/ 3 h 2561350"/>
              <a:gd name="connsiteX1" fmla="*/ 1252808 w 2095234"/>
              <a:gd name="connsiteY1" fmla="*/ 286050 h 2561350"/>
              <a:gd name="connsiteX2" fmla="*/ 1230672 w 2095234"/>
              <a:gd name="connsiteY2" fmla="*/ 389002 h 2561350"/>
              <a:gd name="connsiteX3" fmla="*/ 1981960 w 2095234"/>
              <a:gd name="connsiteY3" fmla="*/ 369108 h 2561350"/>
              <a:gd name="connsiteX4" fmla="*/ 1975328 w 2095234"/>
              <a:gd name="connsiteY4" fmla="*/ 1096546 h 2561350"/>
              <a:gd name="connsiteX5" fmla="*/ 1872748 w 2095234"/>
              <a:gd name="connsiteY5" fmla="*/ 1037347 h 2561350"/>
              <a:gd name="connsiteX6" fmla="*/ 1857106 w 2095234"/>
              <a:gd name="connsiteY6" fmla="*/ 1520560 h 2561350"/>
              <a:gd name="connsiteX7" fmla="*/ 2008486 w 2095234"/>
              <a:gd name="connsiteY7" fmla="*/ 1456260 h 2561350"/>
              <a:gd name="connsiteX8" fmla="*/ 1962066 w 2095234"/>
              <a:gd name="connsiteY8" fmla="*/ 2180265 h 2561350"/>
              <a:gd name="connsiteX9" fmla="*/ 1232935 w 2095234"/>
              <a:gd name="connsiteY9" fmla="*/ 2167002 h 2561350"/>
              <a:gd name="connsiteX10" fmla="*/ 1252808 w 2095234"/>
              <a:gd name="connsiteY10" fmla="*/ 2275300 h 2561350"/>
              <a:gd name="connsiteX11" fmla="*/ 802752 w 2095234"/>
              <a:gd name="connsiteY11" fmla="*/ 2277680 h 2561350"/>
              <a:gd name="connsiteX12" fmla="*/ 832685 w 2095234"/>
              <a:gd name="connsiteY12" fmla="*/ 2167002 h 2561350"/>
              <a:gd name="connsiteX13" fmla="*/ 139760 w 2095234"/>
              <a:gd name="connsiteY13" fmla="*/ 2200159 h 2561350"/>
              <a:gd name="connsiteX14" fmla="*/ 119866 w 2095234"/>
              <a:gd name="connsiteY14" fmla="*/ 1497962 h 2561350"/>
              <a:gd name="connsiteX15" fmla="*/ 281179 w 2095234"/>
              <a:gd name="connsiteY15" fmla="*/ 1561668 h 2561350"/>
              <a:gd name="connsiteX16" fmla="*/ 258905 w 2095234"/>
              <a:gd name="connsiteY16" fmla="*/ 1045298 h 2561350"/>
              <a:gd name="connsiteX17" fmla="*/ 146392 w 2095234"/>
              <a:gd name="connsiteY17" fmla="*/ 1091040 h 2561350"/>
              <a:gd name="connsiteX18" fmla="*/ 119866 w 2095234"/>
              <a:gd name="connsiteY18" fmla="*/ 382371 h 2561350"/>
              <a:gd name="connsiteX19" fmla="*/ 837656 w 2095234"/>
              <a:gd name="connsiteY19" fmla="*/ 389002 h 2561350"/>
              <a:gd name="connsiteX20" fmla="*/ 802752 w 2095234"/>
              <a:gd name="connsiteY20" fmla="*/ 283670 h 2561350"/>
              <a:gd name="connsiteX21" fmla="*/ 1038495 w 2095234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01239 w 2076607"/>
              <a:gd name="connsiteY17" fmla="*/ 382371 h 2561350"/>
              <a:gd name="connsiteX18" fmla="*/ 819029 w 2076607"/>
              <a:gd name="connsiteY18" fmla="*/ 389002 h 2561350"/>
              <a:gd name="connsiteX19" fmla="*/ 784125 w 2076607"/>
              <a:gd name="connsiteY19" fmla="*/ 283670 h 2561350"/>
              <a:gd name="connsiteX20" fmla="*/ 1019868 w 2076607"/>
              <a:gd name="connsiteY20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36388 w 2076607"/>
              <a:gd name="connsiteY17" fmla="*/ 727479 h 2561350"/>
              <a:gd name="connsiteX18" fmla="*/ 101239 w 2076607"/>
              <a:gd name="connsiteY18" fmla="*/ 382371 h 2561350"/>
              <a:gd name="connsiteX19" fmla="*/ 819029 w 2076607"/>
              <a:gd name="connsiteY19" fmla="*/ 389002 h 2561350"/>
              <a:gd name="connsiteX20" fmla="*/ 784125 w 2076607"/>
              <a:gd name="connsiteY20" fmla="*/ 283670 h 2561350"/>
              <a:gd name="connsiteX21" fmla="*/ 1019868 w 2076607"/>
              <a:gd name="connsiteY21" fmla="*/ 3 h 2561350"/>
              <a:gd name="connsiteX0" fmla="*/ 1030195 w 2086934"/>
              <a:gd name="connsiteY0" fmla="*/ 3 h 2561350"/>
              <a:gd name="connsiteX1" fmla="*/ 1244508 w 2086934"/>
              <a:gd name="connsiteY1" fmla="*/ 286050 h 2561350"/>
              <a:gd name="connsiteX2" fmla="*/ 1222372 w 2086934"/>
              <a:gd name="connsiteY2" fmla="*/ 389002 h 2561350"/>
              <a:gd name="connsiteX3" fmla="*/ 1973660 w 2086934"/>
              <a:gd name="connsiteY3" fmla="*/ 369108 h 2561350"/>
              <a:gd name="connsiteX4" fmla="*/ 1967028 w 2086934"/>
              <a:gd name="connsiteY4" fmla="*/ 1096546 h 2561350"/>
              <a:gd name="connsiteX5" fmla="*/ 1864448 w 2086934"/>
              <a:gd name="connsiteY5" fmla="*/ 1037347 h 2561350"/>
              <a:gd name="connsiteX6" fmla="*/ 1848806 w 2086934"/>
              <a:gd name="connsiteY6" fmla="*/ 1520560 h 2561350"/>
              <a:gd name="connsiteX7" fmla="*/ 2000186 w 2086934"/>
              <a:gd name="connsiteY7" fmla="*/ 1456260 h 2561350"/>
              <a:gd name="connsiteX8" fmla="*/ 1953766 w 2086934"/>
              <a:gd name="connsiteY8" fmla="*/ 2180265 h 2561350"/>
              <a:gd name="connsiteX9" fmla="*/ 1224635 w 2086934"/>
              <a:gd name="connsiteY9" fmla="*/ 2167002 h 2561350"/>
              <a:gd name="connsiteX10" fmla="*/ 1244508 w 2086934"/>
              <a:gd name="connsiteY10" fmla="*/ 2275300 h 2561350"/>
              <a:gd name="connsiteX11" fmla="*/ 794452 w 2086934"/>
              <a:gd name="connsiteY11" fmla="*/ 2277680 h 2561350"/>
              <a:gd name="connsiteX12" fmla="*/ 824385 w 2086934"/>
              <a:gd name="connsiteY12" fmla="*/ 2167002 h 2561350"/>
              <a:gd name="connsiteX13" fmla="*/ 131460 w 2086934"/>
              <a:gd name="connsiteY13" fmla="*/ 2200159 h 2561350"/>
              <a:gd name="connsiteX14" fmla="*/ 111566 w 2086934"/>
              <a:gd name="connsiteY14" fmla="*/ 1497962 h 2561350"/>
              <a:gd name="connsiteX15" fmla="*/ 272879 w 2086934"/>
              <a:gd name="connsiteY15" fmla="*/ 1561668 h 2561350"/>
              <a:gd name="connsiteX16" fmla="*/ 250605 w 2086934"/>
              <a:gd name="connsiteY16" fmla="*/ 1045298 h 2561350"/>
              <a:gd name="connsiteX17" fmla="*/ 9943 w 2086934"/>
              <a:gd name="connsiteY17" fmla="*/ 1018431 h 2561350"/>
              <a:gd name="connsiteX18" fmla="*/ 111566 w 2086934"/>
              <a:gd name="connsiteY18" fmla="*/ 382371 h 2561350"/>
              <a:gd name="connsiteX19" fmla="*/ 829356 w 2086934"/>
              <a:gd name="connsiteY19" fmla="*/ 389002 h 2561350"/>
              <a:gd name="connsiteX20" fmla="*/ 794452 w 2086934"/>
              <a:gd name="connsiteY20" fmla="*/ 283670 h 2561350"/>
              <a:gd name="connsiteX21" fmla="*/ 1030195 w 2086934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270566 w 2084621"/>
              <a:gd name="connsiteY14" fmla="*/ 1561668 h 2561350"/>
              <a:gd name="connsiteX15" fmla="*/ 248292 w 2084621"/>
              <a:gd name="connsiteY15" fmla="*/ 1045298 h 2561350"/>
              <a:gd name="connsiteX16" fmla="*/ 7630 w 2084621"/>
              <a:gd name="connsiteY16" fmla="*/ 1018431 h 2561350"/>
              <a:gd name="connsiteX17" fmla="*/ 109253 w 2084621"/>
              <a:gd name="connsiteY17" fmla="*/ 382371 h 2561350"/>
              <a:gd name="connsiteX18" fmla="*/ 827043 w 2084621"/>
              <a:gd name="connsiteY18" fmla="*/ 389002 h 2561350"/>
              <a:gd name="connsiteX19" fmla="*/ 792139 w 2084621"/>
              <a:gd name="connsiteY19" fmla="*/ 283670 h 2561350"/>
              <a:gd name="connsiteX20" fmla="*/ 1027882 w 2084621"/>
              <a:gd name="connsiteY20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76730 w 2084621"/>
              <a:gd name="connsiteY14" fmla="*/ 1866419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33820 w 2090559"/>
              <a:gd name="connsiteY0" fmla="*/ 3 h 2561350"/>
              <a:gd name="connsiteX1" fmla="*/ 1248133 w 2090559"/>
              <a:gd name="connsiteY1" fmla="*/ 286050 h 2561350"/>
              <a:gd name="connsiteX2" fmla="*/ 1225997 w 2090559"/>
              <a:gd name="connsiteY2" fmla="*/ 389002 h 2561350"/>
              <a:gd name="connsiteX3" fmla="*/ 1977285 w 2090559"/>
              <a:gd name="connsiteY3" fmla="*/ 369108 h 2561350"/>
              <a:gd name="connsiteX4" fmla="*/ 1970653 w 2090559"/>
              <a:gd name="connsiteY4" fmla="*/ 1096546 h 2561350"/>
              <a:gd name="connsiteX5" fmla="*/ 1868073 w 2090559"/>
              <a:gd name="connsiteY5" fmla="*/ 1037347 h 2561350"/>
              <a:gd name="connsiteX6" fmla="*/ 1852431 w 2090559"/>
              <a:gd name="connsiteY6" fmla="*/ 1520560 h 2561350"/>
              <a:gd name="connsiteX7" fmla="*/ 2003811 w 2090559"/>
              <a:gd name="connsiteY7" fmla="*/ 1456260 h 2561350"/>
              <a:gd name="connsiteX8" fmla="*/ 1957391 w 2090559"/>
              <a:gd name="connsiteY8" fmla="*/ 2180265 h 2561350"/>
              <a:gd name="connsiteX9" fmla="*/ 1228260 w 2090559"/>
              <a:gd name="connsiteY9" fmla="*/ 2167002 h 2561350"/>
              <a:gd name="connsiteX10" fmla="*/ 1248133 w 2090559"/>
              <a:gd name="connsiteY10" fmla="*/ 2275300 h 2561350"/>
              <a:gd name="connsiteX11" fmla="*/ 798077 w 2090559"/>
              <a:gd name="connsiteY11" fmla="*/ 2277680 h 2561350"/>
              <a:gd name="connsiteX12" fmla="*/ 828010 w 2090559"/>
              <a:gd name="connsiteY12" fmla="*/ 2167002 h 2561350"/>
              <a:gd name="connsiteX13" fmla="*/ 135085 w 2090559"/>
              <a:gd name="connsiteY13" fmla="*/ 2200159 h 2561350"/>
              <a:gd name="connsiteX14" fmla="*/ 6108 w 2090559"/>
              <a:gd name="connsiteY14" fmla="*/ 1657531 h 2561350"/>
              <a:gd name="connsiteX15" fmla="*/ 276504 w 2090559"/>
              <a:gd name="connsiteY15" fmla="*/ 1561668 h 2561350"/>
              <a:gd name="connsiteX16" fmla="*/ 254230 w 2090559"/>
              <a:gd name="connsiteY16" fmla="*/ 1045298 h 2561350"/>
              <a:gd name="connsiteX17" fmla="*/ 13568 w 2090559"/>
              <a:gd name="connsiteY17" fmla="*/ 1018431 h 2561350"/>
              <a:gd name="connsiteX18" fmla="*/ 115191 w 2090559"/>
              <a:gd name="connsiteY18" fmla="*/ 382371 h 2561350"/>
              <a:gd name="connsiteX19" fmla="*/ 832981 w 2090559"/>
              <a:gd name="connsiteY19" fmla="*/ 389002 h 2561350"/>
              <a:gd name="connsiteX20" fmla="*/ 798077 w 2090559"/>
              <a:gd name="connsiteY20" fmla="*/ 283670 h 2561350"/>
              <a:gd name="connsiteX21" fmla="*/ 1033820 w 2090559"/>
              <a:gd name="connsiteY21" fmla="*/ 3 h 2561350"/>
              <a:gd name="connsiteX0" fmla="*/ 1032856 w 2089595"/>
              <a:gd name="connsiteY0" fmla="*/ 3 h 2561350"/>
              <a:gd name="connsiteX1" fmla="*/ 1247169 w 2089595"/>
              <a:gd name="connsiteY1" fmla="*/ 286050 h 2561350"/>
              <a:gd name="connsiteX2" fmla="*/ 1225033 w 2089595"/>
              <a:gd name="connsiteY2" fmla="*/ 389002 h 2561350"/>
              <a:gd name="connsiteX3" fmla="*/ 1976321 w 2089595"/>
              <a:gd name="connsiteY3" fmla="*/ 369108 h 2561350"/>
              <a:gd name="connsiteX4" fmla="*/ 1969689 w 2089595"/>
              <a:gd name="connsiteY4" fmla="*/ 1096546 h 2561350"/>
              <a:gd name="connsiteX5" fmla="*/ 1867109 w 2089595"/>
              <a:gd name="connsiteY5" fmla="*/ 1037347 h 2561350"/>
              <a:gd name="connsiteX6" fmla="*/ 1851467 w 2089595"/>
              <a:gd name="connsiteY6" fmla="*/ 1520560 h 2561350"/>
              <a:gd name="connsiteX7" fmla="*/ 2002847 w 2089595"/>
              <a:gd name="connsiteY7" fmla="*/ 1456260 h 2561350"/>
              <a:gd name="connsiteX8" fmla="*/ 1956427 w 2089595"/>
              <a:gd name="connsiteY8" fmla="*/ 2180265 h 2561350"/>
              <a:gd name="connsiteX9" fmla="*/ 1227296 w 2089595"/>
              <a:gd name="connsiteY9" fmla="*/ 2167002 h 2561350"/>
              <a:gd name="connsiteX10" fmla="*/ 1247169 w 2089595"/>
              <a:gd name="connsiteY10" fmla="*/ 2275300 h 2561350"/>
              <a:gd name="connsiteX11" fmla="*/ 797113 w 2089595"/>
              <a:gd name="connsiteY11" fmla="*/ 2277680 h 2561350"/>
              <a:gd name="connsiteX12" fmla="*/ 827046 w 2089595"/>
              <a:gd name="connsiteY12" fmla="*/ 2167002 h 2561350"/>
              <a:gd name="connsiteX13" fmla="*/ 134121 w 2089595"/>
              <a:gd name="connsiteY13" fmla="*/ 2200159 h 2561350"/>
              <a:gd name="connsiteX14" fmla="*/ 5144 w 2089595"/>
              <a:gd name="connsiteY14" fmla="*/ 1657531 h 2561350"/>
              <a:gd name="connsiteX15" fmla="*/ 275540 w 2089595"/>
              <a:gd name="connsiteY15" fmla="*/ 1561668 h 2561350"/>
              <a:gd name="connsiteX16" fmla="*/ 253266 w 2089595"/>
              <a:gd name="connsiteY16" fmla="*/ 1045298 h 2561350"/>
              <a:gd name="connsiteX17" fmla="*/ 12604 w 2089595"/>
              <a:gd name="connsiteY17" fmla="*/ 1018431 h 2561350"/>
              <a:gd name="connsiteX18" fmla="*/ 114227 w 2089595"/>
              <a:gd name="connsiteY18" fmla="*/ 382371 h 2561350"/>
              <a:gd name="connsiteX19" fmla="*/ 832017 w 2089595"/>
              <a:gd name="connsiteY19" fmla="*/ 389002 h 2561350"/>
              <a:gd name="connsiteX20" fmla="*/ 797113 w 2089595"/>
              <a:gd name="connsiteY20" fmla="*/ 283670 h 2561350"/>
              <a:gd name="connsiteX21" fmla="*/ 1032856 w 2089595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863015 w 2081039"/>
              <a:gd name="connsiteY4" fmla="*/ 1037347 h 2561350"/>
              <a:gd name="connsiteX5" fmla="*/ 1847373 w 2081039"/>
              <a:gd name="connsiteY5" fmla="*/ 1520560 h 2561350"/>
              <a:gd name="connsiteX6" fmla="*/ 1998753 w 2081039"/>
              <a:gd name="connsiteY6" fmla="*/ 1456260 h 2561350"/>
              <a:gd name="connsiteX7" fmla="*/ 1952333 w 2081039"/>
              <a:gd name="connsiteY7" fmla="*/ 2180265 h 2561350"/>
              <a:gd name="connsiteX8" fmla="*/ 1223202 w 2081039"/>
              <a:gd name="connsiteY8" fmla="*/ 2167002 h 2561350"/>
              <a:gd name="connsiteX9" fmla="*/ 1243075 w 2081039"/>
              <a:gd name="connsiteY9" fmla="*/ 2275300 h 2561350"/>
              <a:gd name="connsiteX10" fmla="*/ 793019 w 2081039"/>
              <a:gd name="connsiteY10" fmla="*/ 2277680 h 2561350"/>
              <a:gd name="connsiteX11" fmla="*/ 822952 w 2081039"/>
              <a:gd name="connsiteY11" fmla="*/ 2167002 h 2561350"/>
              <a:gd name="connsiteX12" fmla="*/ 130027 w 2081039"/>
              <a:gd name="connsiteY12" fmla="*/ 2200159 h 2561350"/>
              <a:gd name="connsiteX13" fmla="*/ 1050 w 2081039"/>
              <a:gd name="connsiteY13" fmla="*/ 1657531 h 2561350"/>
              <a:gd name="connsiteX14" fmla="*/ 271446 w 2081039"/>
              <a:gd name="connsiteY14" fmla="*/ 1561668 h 2561350"/>
              <a:gd name="connsiteX15" fmla="*/ 249172 w 2081039"/>
              <a:gd name="connsiteY15" fmla="*/ 1045298 h 2561350"/>
              <a:gd name="connsiteX16" fmla="*/ 8510 w 2081039"/>
              <a:gd name="connsiteY16" fmla="*/ 1018431 h 2561350"/>
              <a:gd name="connsiteX17" fmla="*/ 110133 w 2081039"/>
              <a:gd name="connsiteY17" fmla="*/ 382371 h 2561350"/>
              <a:gd name="connsiteX18" fmla="*/ 827923 w 2081039"/>
              <a:gd name="connsiteY18" fmla="*/ 389002 h 2561350"/>
              <a:gd name="connsiteX19" fmla="*/ 793019 w 2081039"/>
              <a:gd name="connsiteY19" fmla="*/ 283670 h 2561350"/>
              <a:gd name="connsiteX20" fmla="*/ 1028762 w 2081039"/>
              <a:gd name="connsiteY20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933270 w 2081039"/>
              <a:gd name="connsiteY4" fmla="*/ 764780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890996 w 2072429"/>
              <a:gd name="connsiteY7" fmla="*/ 1722186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47373 w 2072429"/>
              <a:gd name="connsiteY5" fmla="*/ 1535481 h 2561350"/>
              <a:gd name="connsiteX6" fmla="*/ 2065070 w 2072429"/>
              <a:gd name="connsiteY6" fmla="*/ 1597847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997927 w 2072429"/>
              <a:gd name="connsiteY5" fmla="*/ 118007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69564" h="2561350">
                <a:moveTo>
                  <a:pt x="1028762" y="3"/>
                </a:moveTo>
                <a:cubicBezTo>
                  <a:pt x="1197831" y="-691"/>
                  <a:pt x="1365814" y="120921"/>
                  <a:pt x="1243075" y="286050"/>
                </a:cubicBezTo>
                <a:cubicBezTo>
                  <a:pt x="1226965" y="315682"/>
                  <a:pt x="1215183" y="348101"/>
                  <a:pt x="1220939" y="389002"/>
                </a:cubicBezTo>
                <a:cubicBezTo>
                  <a:pt x="1226007" y="528261"/>
                  <a:pt x="1696102" y="461119"/>
                  <a:pt x="1959793" y="361648"/>
                </a:cubicBezTo>
                <a:cubicBezTo>
                  <a:pt x="2053648" y="496394"/>
                  <a:pt x="2070837" y="822506"/>
                  <a:pt x="2067556" y="961234"/>
                </a:cubicBezTo>
                <a:cubicBezTo>
                  <a:pt x="2071425" y="1080232"/>
                  <a:pt x="2014728" y="1106744"/>
                  <a:pt x="1881048" y="1030865"/>
                </a:cubicBezTo>
                <a:cubicBezTo>
                  <a:pt x="1483772" y="845572"/>
                  <a:pt x="1585020" y="1699608"/>
                  <a:pt x="1847373" y="1535481"/>
                </a:cubicBezTo>
                <a:cubicBezTo>
                  <a:pt x="1929125" y="1495441"/>
                  <a:pt x="2055039" y="1373504"/>
                  <a:pt x="2065070" y="1597847"/>
                </a:cubicBezTo>
                <a:cubicBezTo>
                  <a:pt x="2080077" y="1677957"/>
                  <a:pt x="2061145" y="2086235"/>
                  <a:pt x="1952333" y="2180265"/>
                </a:cubicBezTo>
                <a:cubicBezTo>
                  <a:pt x="1755709" y="2153739"/>
                  <a:pt x="1373407" y="2007849"/>
                  <a:pt x="1223202" y="2167002"/>
                </a:cubicBezTo>
                <a:cubicBezTo>
                  <a:pt x="1209721" y="2193452"/>
                  <a:pt x="1212523" y="2230274"/>
                  <a:pt x="1243075" y="2275300"/>
                </a:cubicBezTo>
                <a:cubicBezTo>
                  <a:pt x="1483581" y="2660267"/>
                  <a:pt x="581086" y="2652331"/>
                  <a:pt x="793019" y="2277680"/>
                </a:cubicBezTo>
                <a:cubicBezTo>
                  <a:pt x="831994" y="2223379"/>
                  <a:pt x="839802" y="2190096"/>
                  <a:pt x="822952" y="2167002"/>
                </a:cubicBezTo>
                <a:cubicBezTo>
                  <a:pt x="720184" y="2021111"/>
                  <a:pt x="378685" y="2147108"/>
                  <a:pt x="130027" y="2200159"/>
                </a:cubicBezTo>
                <a:cubicBezTo>
                  <a:pt x="37391" y="2130168"/>
                  <a:pt x="-7600" y="1771407"/>
                  <a:pt x="1050" y="1657531"/>
                </a:cubicBezTo>
                <a:cubicBezTo>
                  <a:pt x="24620" y="1416831"/>
                  <a:pt x="117773" y="1502066"/>
                  <a:pt x="271446" y="1561668"/>
                </a:cubicBezTo>
                <a:cubicBezTo>
                  <a:pt x="483628" y="1635999"/>
                  <a:pt x="591036" y="1022800"/>
                  <a:pt x="249172" y="1045298"/>
                </a:cubicBezTo>
                <a:cubicBezTo>
                  <a:pt x="168463" y="1050498"/>
                  <a:pt x="31683" y="1183628"/>
                  <a:pt x="8510" y="1018431"/>
                </a:cubicBezTo>
                <a:cubicBezTo>
                  <a:pt x="-14663" y="907943"/>
                  <a:pt x="13766" y="478572"/>
                  <a:pt x="110133" y="382371"/>
                </a:cubicBezTo>
                <a:cubicBezTo>
                  <a:pt x="506339" y="514999"/>
                  <a:pt x="789812" y="488473"/>
                  <a:pt x="827923" y="389002"/>
                </a:cubicBezTo>
                <a:cubicBezTo>
                  <a:pt x="838244" y="365427"/>
                  <a:pt x="828672" y="333342"/>
                  <a:pt x="793019" y="283670"/>
                </a:cubicBezTo>
                <a:cubicBezTo>
                  <a:pt x="687053" y="96344"/>
                  <a:pt x="859693" y="698"/>
                  <a:pt x="1028762" y="3"/>
                </a:cubicBezTo>
                <a:close/>
              </a:path>
            </a:pathLst>
          </a:custGeom>
          <a:solidFill>
            <a:srgbClr val="6C6C6C"/>
          </a:solidFill>
          <a:ln w="9525">
            <a:noFill/>
          </a:ln>
          <a:scene3d>
            <a:camera prst="orthographicFront"/>
            <a:lightRig rig="threePt" dir="t"/>
          </a:scene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5"/>
          <p:cNvSpPr/>
          <p:nvPr/>
        </p:nvSpPr>
        <p:spPr>
          <a:xfrm rot="5400000" flipV="1">
            <a:off x="1619058" y="2476674"/>
            <a:ext cx="1298753" cy="1596227"/>
          </a:xfrm>
          <a:custGeom>
            <a:avLst/>
            <a:gdLst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949187"/>
              <a:gd name="connsiteY0" fmla="*/ 3 h 2561350"/>
              <a:gd name="connsiteX1" fmla="*/ 1132942 w 1949187"/>
              <a:gd name="connsiteY1" fmla="*/ 286050 h 2561350"/>
              <a:gd name="connsiteX2" fmla="*/ 1110806 w 1949187"/>
              <a:gd name="connsiteY2" fmla="*/ 389002 h 2561350"/>
              <a:gd name="connsiteX3" fmla="*/ 1862094 w 1949187"/>
              <a:gd name="connsiteY3" fmla="*/ 369108 h 2561350"/>
              <a:gd name="connsiteX4" fmla="*/ 1842200 w 1949187"/>
              <a:gd name="connsiteY4" fmla="*/ 1063389 h 2561350"/>
              <a:gd name="connsiteX5" fmla="*/ 1752882 w 1949187"/>
              <a:gd name="connsiteY5" fmla="*/ 1037347 h 2561350"/>
              <a:gd name="connsiteX6" fmla="*/ 1750502 w 1949187"/>
              <a:gd name="connsiteY6" fmla="*/ 1487403 h 2561350"/>
              <a:gd name="connsiteX7" fmla="*/ 1842200 w 1949187"/>
              <a:gd name="connsiteY7" fmla="*/ 1449629 h 2561350"/>
              <a:gd name="connsiteX8" fmla="*/ 1842200 w 1949187"/>
              <a:gd name="connsiteY8" fmla="*/ 2167002 h 2561350"/>
              <a:gd name="connsiteX9" fmla="*/ 1113069 w 1949187"/>
              <a:gd name="connsiteY9" fmla="*/ 2167002 h 2561350"/>
              <a:gd name="connsiteX10" fmla="*/ 1132942 w 1949187"/>
              <a:gd name="connsiteY10" fmla="*/ 2275300 h 2561350"/>
              <a:gd name="connsiteX11" fmla="*/ 682886 w 1949187"/>
              <a:gd name="connsiteY11" fmla="*/ 2277680 h 2561350"/>
              <a:gd name="connsiteX12" fmla="*/ 712819 w 1949187"/>
              <a:gd name="connsiteY12" fmla="*/ 2167002 h 2561350"/>
              <a:gd name="connsiteX13" fmla="*/ 46420 w 1949187"/>
              <a:gd name="connsiteY13" fmla="*/ 2167002 h 2561350"/>
              <a:gd name="connsiteX14" fmla="*/ 46420 w 1949187"/>
              <a:gd name="connsiteY14" fmla="*/ 1458174 h 2561350"/>
              <a:gd name="connsiteX15" fmla="*/ 141419 w 1949187"/>
              <a:gd name="connsiteY15" fmla="*/ 1495354 h 2561350"/>
              <a:gd name="connsiteX16" fmla="*/ 139039 w 1949187"/>
              <a:gd name="connsiteY16" fmla="*/ 1045298 h 2561350"/>
              <a:gd name="connsiteX17" fmla="*/ 46420 w 1949187"/>
              <a:gd name="connsiteY17" fmla="*/ 1071146 h 2561350"/>
              <a:gd name="connsiteX18" fmla="*/ 0 w 1949187"/>
              <a:gd name="connsiteY18" fmla="*/ 382371 h 2561350"/>
              <a:gd name="connsiteX19" fmla="*/ 717790 w 1949187"/>
              <a:gd name="connsiteY19" fmla="*/ 389002 h 2561350"/>
              <a:gd name="connsiteX20" fmla="*/ 682886 w 1949187"/>
              <a:gd name="connsiteY20" fmla="*/ 283670 h 2561350"/>
              <a:gd name="connsiteX21" fmla="*/ 918629 w 1949187"/>
              <a:gd name="connsiteY21" fmla="*/ 3 h 2561350"/>
              <a:gd name="connsiteX0" fmla="*/ 918629 w 1966660"/>
              <a:gd name="connsiteY0" fmla="*/ 3 h 2561350"/>
              <a:gd name="connsiteX1" fmla="*/ 1132942 w 1966660"/>
              <a:gd name="connsiteY1" fmla="*/ 286050 h 2561350"/>
              <a:gd name="connsiteX2" fmla="*/ 1110806 w 1966660"/>
              <a:gd name="connsiteY2" fmla="*/ 389002 h 2561350"/>
              <a:gd name="connsiteX3" fmla="*/ 1862094 w 1966660"/>
              <a:gd name="connsiteY3" fmla="*/ 369108 h 2561350"/>
              <a:gd name="connsiteX4" fmla="*/ 1842200 w 1966660"/>
              <a:gd name="connsiteY4" fmla="*/ 1063389 h 2561350"/>
              <a:gd name="connsiteX5" fmla="*/ 1752882 w 1966660"/>
              <a:gd name="connsiteY5" fmla="*/ 1037347 h 2561350"/>
              <a:gd name="connsiteX6" fmla="*/ 1750502 w 1966660"/>
              <a:gd name="connsiteY6" fmla="*/ 1487403 h 2561350"/>
              <a:gd name="connsiteX7" fmla="*/ 1842200 w 1966660"/>
              <a:gd name="connsiteY7" fmla="*/ 1449629 h 2561350"/>
              <a:gd name="connsiteX8" fmla="*/ 1842200 w 1966660"/>
              <a:gd name="connsiteY8" fmla="*/ 2167002 h 2561350"/>
              <a:gd name="connsiteX9" fmla="*/ 1113069 w 1966660"/>
              <a:gd name="connsiteY9" fmla="*/ 2167002 h 2561350"/>
              <a:gd name="connsiteX10" fmla="*/ 1132942 w 1966660"/>
              <a:gd name="connsiteY10" fmla="*/ 2275300 h 2561350"/>
              <a:gd name="connsiteX11" fmla="*/ 682886 w 1966660"/>
              <a:gd name="connsiteY11" fmla="*/ 2277680 h 2561350"/>
              <a:gd name="connsiteX12" fmla="*/ 712819 w 1966660"/>
              <a:gd name="connsiteY12" fmla="*/ 2167002 h 2561350"/>
              <a:gd name="connsiteX13" fmla="*/ 46420 w 1966660"/>
              <a:gd name="connsiteY13" fmla="*/ 2167002 h 2561350"/>
              <a:gd name="connsiteX14" fmla="*/ 46420 w 1966660"/>
              <a:gd name="connsiteY14" fmla="*/ 1458174 h 2561350"/>
              <a:gd name="connsiteX15" fmla="*/ 141419 w 1966660"/>
              <a:gd name="connsiteY15" fmla="*/ 1495354 h 2561350"/>
              <a:gd name="connsiteX16" fmla="*/ 139039 w 1966660"/>
              <a:gd name="connsiteY16" fmla="*/ 1045298 h 2561350"/>
              <a:gd name="connsiteX17" fmla="*/ 46420 w 1966660"/>
              <a:gd name="connsiteY17" fmla="*/ 1071146 h 2561350"/>
              <a:gd name="connsiteX18" fmla="*/ 0 w 1966660"/>
              <a:gd name="connsiteY18" fmla="*/ 382371 h 2561350"/>
              <a:gd name="connsiteX19" fmla="*/ 717790 w 1966660"/>
              <a:gd name="connsiteY19" fmla="*/ 389002 h 2561350"/>
              <a:gd name="connsiteX20" fmla="*/ 682886 w 1966660"/>
              <a:gd name="connsiteY20" fmla="*/ 283670 h 2561350"/>
              <a:gd name="connsiteX21" fmla="*/ 918629 w 1966660"/>
              <a:gd name="connsiteY21" fmla="*/ 3 h 2561350"/>
              <a:gd name="connsiteX0" fmla="*/ 1023861 w 2071892"/>
              <a:gd name="connsiteY0" fmla="*/ 3 h 2561350"/>
              <a:gd name="connsiteX1" fmla="*/ 1238174 w 2071892"/>
              <a:gd name="connsiteY1" fmla="*/ 286050 h 2561350"/>
              <a:gd name="connsiteX2" fmla="*/ 1216038 w 2071892"/>
              <a:gd name="connsiteY2" fmla="*/ 389002 h 2561350"/>
              <a:gd name="connsiteX3" fmla="*/ 1967326 w 2071892"/>
              <a:gd name="connsiteY3" fmla="*/ 369108 h 2561350"/>
              <a:gd name="connsiteX4" fmla="*/ 1947432 w 2071892"/>
              <a:gd name="connsiteY4" fmla="*/ 1063389 h 2561350"/>
              <a:gd name="connsiteX5" fmla="*/ 1858114 w 2071892"/>
              <a:gd name="connsiteY5" fmla="*/ 1037347 h 2561350"/>
              <a:gd name="connsiteX6" fmla="*/ 1855734 w 2071892"/>
              <a:gd name="connsiteY6" fmla="*/ 1487403 h 2561350"/>
              <a:gd name="connsiteX7" fmla="*/ 1947432 w 2071892"/>
              <a:gd name="connsiteY7" fmla="*/ 1449629 h 2561350"/>
              <a:gd name="connsiteX8" fmla="*/ 1947432 w 2071892"/>
              <a:gd name="connsiteY8" fmla="*/ 2167002 h 2561350"/>
              <a:gd name="connsiteX9" fmla="*/ 1218301 w 2071892"/>
              <a:gd name="connsiteY9" fmla="*/ 2167002 h 2561350"/>
              <a:gd name="connsiteX10" fmla="*/ 1238174 w 2071892"/>
              <a:gd name="connsiteY10" fmla="*/ 2275300 h 2561350"/>
              <a:gd name="connsiteX11" fmla="*/ 788118 w 2071892"/>
              <a:gd name="connsiteY11" fmla="*/ 2277680 h 2561350"/>
              <a:gd name="connsiteX12" fmla="*/ 818051 w 2071892"/>
              <a:gd name="connsiteY12" fmla="*/ 2167002 h 2561350"/>
              <a:gd name="connsiteX13" fmla="*/ 151652 w 2071892"/>
              <a:gd name="connsiteY13" fmla="*/ 2167002 h 2561350"/>
              <a:gd name="connsiteX14" fmla="*/ 151652 w 2071892"/>
              <a:gd name="connsiteY14" fmla="*/ 1458174 h 2561350"/>
              <a:gd name="connsiteX15" fmla="*/ 246651 w 2071892"/>
              <a:gd name="connsiteY15" fmla="*/ 1495354 h 2561350"/>
              <a:gd name="connsiteX16" fmla="*/ 244271 w 2071892"/>
              <a:gd name="connsiteY16" fmla="*/ 1045298 h 2561350"/>
              <a:gd name="connsiteX17" fmla="*/ 151652 w 2071892"/>
              <a:gd name="connsiteY17" fmla="*/ 1071146 h 2561350"/>
              <a:gd name="connsiteX18" fmla="*/ 105232 w 2071892"/>
              <a:gd name="connsiteY18" fmla="*/ 382371 h 2561350"/>
              <a:gd name="connsiteX19" fmla="*/ 823022 w 2071892"/>
              <a:gd name="connsiteY19" fmla="*/ 389002 h 2561350"/>
              <a:gd name="connsiteX20" fmla="*/ 788118 w 2071892"/>
              <a:gd name="connsiteY20" fmla="*/ 283670 h 2561350"/>
              <a:gd name="connsiteX21" fmla="*/ 1023861 w 2071892"/>
              <a:gd name="connsiteY21" fmla="*/ 3 h 2561350"/>
              <a:gd name="connsiteX0" fmla="*/ 1039756 w 2087787"/>
              <a:gd name="connsiteY0" fmla="*/ 3 h 2561350"/>
              <a:gd name="connsiteX1" fmla="*/ 1254069 w 2087787"/>
              <a:gd name="connsiteY1" fmla="*/ 286050 h 2561350"/>
              <a:gd name="connsiteX2" fmla="*/ 1231933 w 2087787"/>
              <a:gd name="connsiteY2" fmla="*/ 389002 h 2561350"/>
              <a:gd name="connsiteX3" fmla="*/ 1983221 w 2087787"/>
              <a:gd name="connsiteY3" fmla="*/ 369108 h 2561350"/>
              <a:gd name="connsiteX4" fmla="*/ 1963327 w 2087787"/>
              <a:gd name="connsiteY4" fmla="*/ 1063389 h 2561350"/>
              <a:gd name="connsiteX5" fmla="*/ 1874009 w 2087787"/>
              <a:gd name="connsiteY5" fmla="*/ 1037347 h 2561350"/>
              <a:gd name="connsiteX6" fmla="*/ 1871629 w 2087787"/>
              <a:gd name="connsiteY6" fmla="*/ 1487403 h 2561350"/>
              <a:gd name="connsiteX7" fmla="*/ 1963327 w 2087787"/>
              <a:gd name="connsiteY7" fmla="*/ 1449629 h 2561350"/>
              <a:gd name="connsiteX8" fmla="*/ 1963327 w 2087787"/>
              <a:gd name="connsiteY8" fmla="*/ 2167002 h 2561350"/>
              <a:gd name="connsiteX9" fmla="*/ 1234196 w 2087787"/>
              <a:gd name="connsiteY9" fmla="*/ 2167002 h 2561350"/>
              <a:gd name="connsiteX10" fmla="*/ 1254069 w 2087787"/>
              <a:gd name="connsiteY10" fmla="*/ 2275300 h 2561350"/>
              <a:gd name="connsiteX11" fmla="*/ 804013 w 2087787"/>
              <a:gd name="connsiteY11" fmla="*/ 2277680 h 2561350"/>
              <a:gd name="connsiteX12" fmla="*/ 833946 w 2087787"/>
              <a:gd name="connsiteY12" fmla="*/ 2167002 h 2561350"/>
              <a:gd name="connsiteX13" fmla="*/ 167547 w 2087787"/>
              <a:gd name="connsiteY13" fmla="*/ 2167002 h 2561350"/>
              <a:gd name="connsiteX14" fmla="*/ 167547 w 2087787"/>
              <a:gd name="connsiteY14" fmla="*/ 1458174 h 2561350"/>
              <a:gd name="connsiteX15" fmla="*/ 262546 w 2087787"/>
              <a:gd name="connsiteY15" fmla="*/ 1495354 h 2561350"/>
              <a:gd name="connsiteX16" fmla="*/ 260166 w 2087787"/>
              <a:gd name="connsiteY16" fmla="*/ 1045298 h 2561350"/>
              <a:gd name="connsiteX17" fmla="*/ 167547 w 2087787"/>
              <a:gd name="connsiteY17" fmla="*/ 1071146 h 2561350"/>
              <a:gd name="connsiteX18" fmla="*/ 121127 w 2087787"/>
              <a:gd name="connsiteY18" fmla="*/ 382371 h 2561350"/>
              <a:gd name="connsiteX19" fmla="*/ 838917 w 2087787"/>
              <a:gd name="connsiteY19" fmla="*/ 389002 h 2561350"/>
              <a:gd name="connsiteX20" fmla="*/ 804013 w 2087787"/>
              <a:gd name="connsiteY20" fmla="*/ 283670 h 2561350"/>
              <a:gd name="connsiteX21" fmla="*/ 1039756 w 2087787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88885"/>
              <a:gd name="connsiteY0" fmla="*/ 3 h 2561350"/>
              <a:gd name="connsiteX1" fmla="*/ 1239747 w 2088885"/>
              <a:gd name="connsiteY1" fmla="*/ 286050 h 2561350"/>
              <a:gd name="connsiteX2" fmla="*/ 1217611 w 2088885"/>
              <a:gd name="connsiteY2" fmla="*/ 389002 h 2561350"/>
              <a:gd name="connsiteX3" fmla="*/ 1968899 w 2088885"/>
              <a:gd name="connsiteY3" fmla="*/ 369108 h 2561350"/>
              <a:gd name="connsiteX4" fmla="*/ 1949005 w 2088885"/>
              <a:gd name="connsiteY4" fmla="*/ 1063389 h 2561350"/>
              <a:gd name="connsiteX5" fmla="*/ 1859687 w 2088885"/>
              <a:gd name="connsiteY5" fmla="*/ 1037347 h 2561350"/>
              <a:gd name="connsiteX6" fmla="*/ 1857307 w 2088885"/>
              <a:gd name="connsiteY6" fmla="*/ 1487403 h 2561350"/>
              <a:gd name="connsiteX7" fmla="*/ 1949005 w 2088885"/>
              <a:gd name="connsiteY7" fmla="*/ 1449629 h 2561350"/>
              <a:gd name="connsiteX8" fmla="*/ 1949005 w 2088885"/>
              <a:gd name="connsiteY8" fmla="*/ 2167002 h 2561350"/>
              <a:gd name="connsiteX9" fmla="*/ 1219874 w 2088885"/>
              <a:gd name="connsiteY9" fmla="*/ 2167002 h 2561350"/>
              <a:gd name="connsiteX10" fmla="*/ 1239747 w 2088885"/>
              <a:gd name="connsiteY10" fmla="*/ 2275300 h 2561350"/>
              <a:gd name="connsiteX11" fmla="*/ 789691 w 2088885"/>
              <a:gd name="connsiteY11" fmla="*/ 2277680 h 2561350"/>
              <a:gd name="connsiteX12" fmla="*/ 819624 w 2088885"/>
              <a:gd name="connsiteY12" fmla="*/ 2167002 h 2561350"/>
              <a:gd name="connsiteX13" fmla="*/ 153225 w 2088885"/>
              <a:gd name="connsiteY13" fmla="*/ 2167002 h 2561350"/>
              <a:gd name="connsiteX14" fmla="*/ 153225 w 2088885"/>
              <a:gd name="connsiteY14" fmla="*/ 1458174 h 2561350"/>
              <a:gd name="connsiteX15" fmla="*/ 248224 w 2088885"/>
              <a:gd name="connsiteY15" fmla="*/ 1495354 h 2561350"/>
              <a:gd name="connsiteX16" fmla="*/ 245844 w 2088885"/>
              <a:gd name="connsiteY16" fmla="*/ 1045298 h 2561350"/>
              <a:gd name="connsiteX17" fmla="*/ 153225 w 2088885"/>
              <a:gd name="connsiteY17" fmla="*/ 1071146 h 2561350"/>
              <a:gd name="connsiteX18" fmla="*/ 106805 w 2088885"/>
              <a:gd name="connsiteY18" fmla="*/ 382371 h 2561350"/>
              <a:gd name="connsiteX19" fmla="*/ 824595 w 2088885"/>
              <a:gd name="connsiteY19" fmla="*/ 389002 h 2561350"/>
              <a:gd name="connsiteX20" fmla="*/ 789691 w 2088885"/>
              <a:gd name="connsiteY20" fmla="*/ 283670 h 2561350"/>
              <a:gd name="connsiteX21" fmla="*/ 1025434 w 208888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102756"/>
              <a:gd name="connsiteY0" fmla="*/ 3 h 2561350"/>
              <a:gd name="connsiteX1" fmla="*/ 1239747 w 2102756"/>
              <a:gd name="connsiteY1" fmla="*/ 286050 h 2561350"/>
              <a:gd name="connsiteX2" fmla="*/ 1217611 w 2102756"/>
              <a:gd name="connsiteY2" fmla="*/ 389002 h 2561350"/>
              <a:gd name="connsiteX3" fmla="*/ 1968899 w 2102756"/>
              <a:gd name="connsiteY3" fmla="*/ 369108 h 2561350"/>
              <a:gd name="connsiteX4" fmla="*/ 1949005 w 2102756"/>
              <a:gd name="connsiteY4" fmla="*/ 1063389 h 2561350"/>
              <a:gd name="connsiteX5" fmla="*/ 1859687 w 2102756"/>
              <a:gd name="connsiteY5" fmla="*/ 1037347 h 2561350"/>
              <a:gd name="connsiteX6" fmla="*/ 1857307 w 2102756"/>
              <a:gd name="connsiteY6" fmla="*/ 1487403 h 2561350"/>
              <a:gd name="connsiteX7" fmla="*/ 1995425 w 2102756"/>
              <a:gd name="connsiteY7" fmla="*/ 1456260 h 2561350"/>
              <a:gd name="connsiteX8" fmla="*/ 1949005 w 2102756"/>
              <a:gd name="connsiteY8" fmla="*/ 2167002 h 2561350"/>
              <a:gd name="connsiteX9" fmla="*/ 1219874 w 2102756"/>
              <a:gd name="connsiteY9" fmla="*/ 2167002 h 2561350"/>
              <a:gd name="connsiteX10" fmla="*/ 1239747 w 2102756"/>
              <a:gd name="connsiteY10" fmla="*/ 2275300 h 2561350"/>
              <a:gd name="connsiteX11" fmla="*/ 789691 w 2102756"/>
              <a:gd name="connsiteY11" fmla="*/ 2277680 h 2561350"/>
              <a:gd name="connsiteX12" fmla="*/ 819624 w 2102756"/>
              <a:gd name="connsiteY12" fmla="*/ 2167002 h 2561350"/>
              <a:gd name="connsiteX13" fmla="*/ 153225 w 2102756"/>
              <a:gd name="connsiteY13" fmla="*/ 2167002 h 2561350"/>
              <a:gd name="connsiteX14" fmla="*/ 153225 w 2102756"/>
              <a:gd name="connsiteY14" fmla="*/ 1458174 h 2561350"/>
              <a:gd name="connsiteX15" fmla="*/ 248224 w 2102756"/>
              <a:gd name="connsiteY15" fmla="*/ 1495354 h 2561350"/>
              <a:gd name="connsiteX16" fmla="*/ 245844 w 2102756"/>
              <a:gd name="connsiteY16" fmla="*/ 1045298 h 2561350"/>
              <a:gd name="connsiteX17" fmla="*/ 153225 w 2102756"/>
              <a:gd name="connsiteY17" fmla="*/ 1071146 h 2561350"/>
              <a:gd name="connsiteX18" fmla="*/ 106805 w 2102756"/>
              <a:gd name="connsiteY18" fmla="*/ 382371 h 2561350"/>
              <a:gd name="connsiteX19" fmla="*/ 824595 w 2102756"/>
              <a:gd name="connsiteY19" fmla="*/ 389002 h 2561350"/>
              <a:gd name="connsiteX20" fmla="*/ 789691 w 2102756"/>
              <a:gd name="connsiteY20" fmla="*/ 283670 h 2561350"/>
              <a:gd name="connsiteX21" fmla="*/ 1025434 w 2102756"/>
              <a:gd name="connsiteY21" fmla="*/ 3 h 2561350"/>
              <a:gd name="connsiteX0" fmla="*/ 1025434 w 2076232"/>
              <a:gd name="connsiteY0" fmla="*/ 3 h 2561350"/>
              <a:gd name="connsiteX1" fmla="*/ 1239747 w 2076232"/>
              <a:gd name="connsiteY1" fmla="*/ 286050 h 2561350"/>
              <a:gd name="connsiteX2" fmla="*/ 1217611 w 2076232"/>
              <a:gd name="connsiteY2" fmla="*/ 389002 h 2561350"/>
              <a:gd name="connsiteX3" fmla="*/ 1968899 w 2076232"/>
              <a:gd name="connsiteY3" fmla="*/ 369108 h 2561350"/>
              <a:gd name="connsiteX4" fmla="*/ 1949005 w 2076232"/>
              <a:gd name="connsiteY4" fmla="*/ 1063389 h 2561350"/>
              <a:gd name="connsiteX5" fmla="*/ 1859687 w 2076232"/>
              <a:gd name="connsiteY5" fmla="*/ 1037347 h 2561350"/>
              <a:gd name="connsiteX6" fmla="*/ 1857307 w 2076232"/>
              <a:gd name="connsiteY6" fmla="*/ 1487403 h 2561350"/>
              <a:gd name="connsiteX7" fmla="*/ 1995425 w 2076232"/>
              <a:gd name="connsiteY7" fmla="*/ 1456260 h 2561350"/>
              <a:gd name="connsiteX8" fmla="*/ 1949005 w 2076232"/>
              <a:gd name="connsiteY8" fmla="*/ 2167002 h 2561350"/>
              <a:gd name="connsiteX9" fmla="*/ 1219874 w 2076232"/>
              <a:gd name="connsiteY9" fmla="*/ 2167002 h 2561350"/>
              <a:gd name="connsiteX10" fmla="*/ 1239747 w 2076232"/>
              <a:gd name="connsiteY10" fmla="*/ 2275300 h 2561350"/>
              <a:gd name="connsiteX11" fmla="*/ 789691 w 2076232"/>
              <a:gd name="connsiteY11" fmla="*/ 2277680 h 2561350"/>
              <a:gd name="connsiteX12" fmla="*/ 819624 w 2076232"/>
              <a:gd name="connsiteY12" fmla="*/ 2167002 h 2561350"/>
              <a:gd name="connsiteX13" fmla="*/ 153225 w 2076232"/>
              <a:gd name="connsiteY13" fmla="*/ 2167002 h 2561350"/>
              <a:gd name="connsiteX14" fmla="*/ 153225 w 2076232"/>
              <a:gd name="connsiteY14" fmla="*/ 1458174 h 2561350"/>
              <a:gd name="connsiteX15" fmla="*/ 248224 w 2076232"/>
              <a:gd name="connsiteY15" fmla="*/ 1495354 h 2561350"/>
              <a:gd name="connsiteX16" fmla="*/ 245844 w 2076232"/>
              <a:gd name="connsiteY16" fmla="*/ 1045298 h 2561350"/>
              <a:gd name="connsiteX17" fmla="*/ 153225 w 2076232"/>
              <a:gd name="connsiteY17" fmla="*/ 1071146 h 2561350"/>
              <a:gd name="connsiteX18" fmla="*/ 106805 w 2076232"/>
              <a:gd name="connsiteY18" fmla="*/ 382371 h 2561350"/>
              <a:gd name="connsiteX19" fmla="*/ 824595 w 2076232"/>
              <a:gd name="connsiteY19" fmla="*/ 389002 h 2561350"/>
              <a:gd name="connsiteX20" fmla="*/ 789691 w 2076232"/>
              <a:gd name="connsiteY20" fmla="*/ 283670 h 2561350"/>
              <a:gd name="connsiteX21" fmla="*/ 1025434 w 2076232"/>
              <a:gd name="connsiteY21" fmla="*/ 3 h 2561350"/>
              <a:gd name="connsiteX0" fmla="*/ 1025434 w 2077711"/>
              <a:gd name="connsiteY0" fmla="*/ 3 h 2561350"/>
              <a:gd name="connsiteX1" fmla="*/ 1239747 w 2077711"/>
              <a:gd name="connsiteY1" fmla="*/ 286050 h 2561350"/>
              <a:gd name="connsiteX2" fmla="*/ 1217611 w 2077711"/>
              <a:gd name="connsiteY2" fmla="*/ 389002 h 2561350"/>
              <a:gd name="connsiteX3" fmla="*/ 1968899 w 2077711"/>
              <a:gd name="connsiteY3" fmla="*/ 369108 h 2561350"/>
              <a:gd name="connsiteX4" fmla="*/ 1949005 w 2077711"/>
              <a:gd name="connsiteY4" fmla="*/ 1063389 h 2561350"/>
              <a:gd name="connsiteX5" fmla="*/ 1859687 w 2077711"/>
              <a:gd name="connsiteY5" fmla="*/ 1037347 h 2561350"/>
              <a:gd name="connsiteX6" fmla="*/ 1857307 w 2077711"/>
              <a:gd name="connsiteY6" fmla="*/ 1487403 h 2561350"/>
              <a:gd name="connsiteX7" fmla="*/ 1995425 w 2077711"/>
              <a:gd name="connsiteY7" fmla="*/ 1456260 h 2561350"/>
              <a:gd name="connsiteX8" fmla="*/ 1949005 w 2077711"/>
              <a:gd name="connsiteY8" fmla="*/ 2167002 h 2561350"/>
              <a:gd name="connsiteX9" fmla="*/ 1219874 w 2077711"/>
              <a:gd name="connsiteY9" fmla="*/ 2167002 h 2561350"/>
              <a:gd name="connsiteX10" fmla="*/ 1239747 w 2077711"/>
              <a:gd name="connsiteY10" fmla="*/ 2275300 h 2561350"/>
              <a:gd name="connsiteX11" fmla="*/ 789691 w 2077711"/>
              <a:gd name="connsiteY11" fmla="*/ 2277680 h 2561350"/>
              <a:gd name="connsiteX12" fmla="*/ 819624 w 2077711"/>
              <a:gd name="connsiteY12" fmla="*/ 2167002 h 2561350"/>
              <a:gd name="connsiteX13" fmla="*/ 153225 w 2077711"/>
              <a:gd name="connsiteY13" fmla="*/ 2167002 h 2561350"/>
              <a:gd name="connsiteX14" fmla="*/ 153225 w 2077711"/>
              <a:gd name="connsiteY14" fmla="*/ 1458174 h 2561350"/>
              <a:gd name="connsiteX15" fmla="*/ 248224 w 2077711"/>
              <a:gd name="connsiteY15" fmla="*/ 1495354 h 2561350"/>
              <a:gd name="connsiteX16" fmla="*/ 245844 w 2077711"/>
              <a:gd name="connsiteY16" fmla="*/ 1045298 h 2561350"/>
              <a:gd name="connsiteX17" fmla="*/ 153225 w 2077711"/>
              <a:gd name="connsiteY17" fmla="*/ 1071146 h 2561350"/>
              <a:gd name="connsiteX18" fmla="*/ 106805 w 2077711"/>
              <a:gd name="connsiteY18" fmla="*/ 382371 h 2561350"/>
              <a:gd name="connsiteX19" fmla="*/ 824595 w 2077711"/>
              <a:gd name="connsiteY19" fmla="*/ 389002 h 2561350"/>
              <a:gd name="connsiteX20" fmla="*/ 789691 w 2077711"/>
              <a:gd name="connsiteY20" fmla="*/ 283670 h 2561350"/>
              <a:gd name="connsiteX21" fmla="*/ 1025434 w 2077711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13436 w 2082173"/>
              <a:gd name="connsiteY14" fmla="*/ 1511225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38495 w 2095234"/>
              <a:gd name="connsiteY0" fmla="*/ 3 h 2561350"/>
              <a:gd name="connsiteX1" fmla="*/ 1252808 w 2095234"/>
              <a:gd name="connsiteY1" fmla="*/ 286050 h 2561350"/>
              <a:gd name="connsiteX2" fmla="*/ 1230672 w 2095234"/>
              <a:gd name="connsiteY2" fmla="*/ 389002 h 2561350"/>
              <a:gd name="connsiteX3" fmla="*/ 1981960 w 2095234"/>
              <a:gd name="connsiteY3" fmla="*/ 369108 h 2561350"/>
              <a:gd name="connsiteX4" fmla="*/ 1975328 w 2095234"/>
              <a:gd name="connsiteY4" fmla="*/ 1096546 h 2561350"/>
              <a:gd name="connsiteX5" fmla="*/ 1872748 w 2095234"/>
              <a:gd name="connsiteY5" fmla="*/ 1037347 h 2561350"/>
              <a:gd name="connsiteX6" fmla="*/ 1857106 w 2095234"/>
              <a:gd name="connsiteY6" fmla="*/ 1520560 h 2561350"/>
              <a:gd name="connsiteX7" fmla="*/ 2008486 w 2095234"/>
              <a:gd name="connsiteY7" fmla="*/ 1456260 h 2561350"/>
              <a:gd name="connsiteX8" fmla="*/ 1962066 w 2095234"/>
              <a:gd name="connsiteY8" fmla="*/ 2180265 h 2561350"/>
              <a:gd name="connsiteX9" fmla="*/ 1232935 w 2095234"/>
              <a:gd name="connsiteY9" fmla="*/ 2167002 h 2561350"/>
              <a:gd name="connsiteX10" fmla="*/ 1252808 w 2095234"/>
              <a:gd name="connsiteY10" fmla="*/ 2275300 h 2561350"/>
              <a:gd name="connsiteX11" fmla="*/ 802752 w 2095234"/>
              <a:gd name="connsiteY11" fmla="*/ 2277680 h 2561350"/>
              <a:gd name="connsiteX12" fmla="*/ 832685 w 2095234"/>
              <a:gd name="connsiteY12" fmla="*/ 2167002 h 2561350"/>
              <a:gd name="connsiteX13" fmla="*/ 139760 w 2095234"/>
              <a:gd name="connsiteY13" fmla="*/ 2200159 h 2561350"/>
              <a:gd name="connsiteX14" fmla="*/ 119866 w 2095234"/>
              <a:gd name="connsiteY14" fmla="*/ 1497962 h 2561350"/>
              <a:gd name="connsiteX15" fmla="*/ 281179 w 2095234"/>
              <a:gd name="connsiteY15" fmla="*/ 1561668 h 2561350"/>
              <a:gd name="connsiteX16" fmla="*/ 258905 w 2095234"/>
              <a:gd name="connsiteY16" fmla="*/ 1045298 h 2561350"/>
              <a:gd name="connsiteX17" fmla="*/ 146392 w 2095234"/>
              <a:gd name="connsiteY17" fmla="*/ 1091040 h 2561350"/>
              <a:gd name="connsiteX18" fmla="*/ 119866 w 2095234"/>
              <a:gd name="connsiteY18" fmla="*/ 382371 h 2561350"/>
              <a:gd name="connsiteX19" fmla="*/ 837656 w 2095234"/>
              <a:gd name="connsiteY19" fmla="*/ 389002 h 2561350"/>
              <a:gd name="connsiteX20" fmla="*/ 802752 w 2095234"/>
              <a:gd name="connsiteY20" fmla="*/ 283670 h 2561350"/>
              <a:gd name="connsiteX21" fmla="*/ 1038495 w 2095234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01239 w 2076607"/>
              <a:gd name="connsiteY17" fmla="*/ 382371 h 2561350"/>
              <a:gd name="connsiteX18" fmla="*/ 819029 w 2076607"/>
              <a:gd name="connsiteY18" fmla="*/ 389002 h 2561350"/>
              <a:gd name="connsiteX19" fmla="*/ 784125 w 2076607"/>
              <a:gd name="connsiteY19" fmla="*/ 283670 h 2561350"/>
              <a:gd name="connsiteX20" fmla="*/ 1019868 w 2076607"/>
              <a:gd name="connsiteY20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36388 w 2076607"/>
              <a:gd name="connsiteY17" fmla="*/ 727479 h 2561350"/>
              <a:gd name="connsiteX18" fmla="*/ 101239 w 2076607"/>
              <a:gd name="connsiteY18" fmla="*/ 382371 h 2561350"/>
              <a:gd name="connsiteX19" fmla="*/ 819029 w 2076607"/>
              <a:gd name="connsiteY19" fmla="*/ 389002 h 2561350"/>
              <a:gd name="connsiteX20" fmla="*/ 784125 w 2076607"/>
              <a:gd name="connsiteY20" fmla="*/ 283670 h 2561350"/>
              <a:gd name="connsiteX21" fmla="*/ 1019868 w 2076607"/>
              <a:gd name="connsiteY21" fmla="*/ 3 h 2561350"/>
              <a:gd name="connsiteX0" fmla="*/ 1030195 w 2086934"/>
              <a:gd name="connsiteY0" fmla="*/ 3 h 2561350"/>
              <a:gd name="connsiteX1" fmla="*/ 1244508 w 2086934"/>
              <a:gd name="connsiteY1" fmla="*/ 286050 h 2561350"/>
              <a:gd name="connsiteX2" fmla="*/ 1222372 w 2086934"/>
              <a:gd name="connsiteY2" fmla="*/ 389002 h 2561350"/>
              <a:gd name="connsiteX3" fmla="*/ 1973660 w 2086934"/>
              <a:gd name="connsiteY3" fmla="*/ 369108 h 2561350"/>
              <a:gd name="connsiteX4" fmla="*/ 1967028 w 2086934"/>
              <a:gd name="connsiteY4" fmla="*/ 1096546 h 2561350"/>
              <a:gd name="connsiteX5" fmla="*/ 1864448 w 2086934"/>
              <a:gd name="connsiteY5" fmla="*/ 1037347 h 2561350"/>
              <a:gd name="connsiteX6" fmla="*/ 1848806 w 2086934"/>
              <a:gd name="connsiteY6" fmla="*/ 1520560 h 2561350"/>
              <a:gd name="connsiteX7" fmla="*/ 2000186 w 2086934"/>
              <a:gd name="connsiteY7" fmla="*/ 1456260 h 2561350"/>
              <a:gd name="connsiteX8" fmla="*/ 1953766 w 2086934"/>
              <a:gd name="connsiteY8" fmla="*/ 2180265 h 2561350"/>
              <a:gd name="connsiteX9" fmla="*/ 1224635 w 2086934"/>
              <a:gd name="connsiteY9" fmla="*/ 2167002 h 2561350"/>
              <a:gd name="connsiteX10" fmla="*/ 1244508 w 2086934"/>
              <a:gd name="connsiteY10" fmla="*/ 2275300 h 2561350"/>
              <a:gd name="connsiteX11" fmla="*/ 794452 w 2086934"/>
              <a:gd name="connsiteY11" fmla="*/ 2277680 h 2561350"/>
              <a:gd name="connsiteX12" fmla="*/ 824385 w 2086934"/>
              <a:gd name="connsiteY12" fmla="*/ 2167002 h 2561350"/>
              <a:gd name="connsiteX13" fmla="*/ 131460 w 2086934"/>
              <a:gd name="connsiteY13" fmla="*/ 2200159 h 2561350"/>
              <a:gd name="connsiteX14" fmla="*/ 111566 w 2086934"/>
              <a:gd name="connsiteY14" fmla="*/ 1497962 h 2561350"/>
              <a:gd name="connsiteX15" fmla="*/ 272879 w 2086934"/>
              <a:gd name="connsiteY15" fmla="*/ 1561668 h 2561350"/>
              <a:gd name="connsiteX16" fmla="*/ 250605 w 2086934"/>
              <a:gd name="connsiteY16" fmla="*/ 1045298 h 2561350"/>
              <a:gd name="connsiteX17" fmla="*/ 9943 w 2086934"/>
              <a:gd name="connsiteY17" fmla="*/ 1018431 h 2561350"/>
              <a:gd name="connsiteX18" fmla="*/ 111566 w 2086934"/>
              <a:gd name="connsiteY18" fmla="*/ 382371 h 2561350"/>
              <a:gd name="connsiteX19" fmla="*/ 829356 w 2086934"/>
              <a:gd name="connsiteY19" fmla="*/ 389002 h 2561350"/>
              <a:gd name="connsiteX20" fmla="*/ 794452 w 2086934"/>
              <a:gd name="connsiteY20" fmla="*/ 283670 h 2561350"/>
              <a:gd name="connsiteX21" fmla="*/ 1030195 w 2086934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270566 w 2084621"/>
              <a:gd name="connsiteY14" fmla="*/ 1561668 h 2561350"/>
              <a:gd name="connsiteX15" fmla="*/ 248292 w 2084621"/>
              <a:gd name="connsiteY15" fmla="*/ 1045298 h 2561350"/>
              <a:gd name="connsiteX16" fmla="*/ 7630 w 2084621"/>
              <a:gd name="connsiteY16" fmla="*/ 1018431 h 2561350"/>
              <a:gd name="connsiteX17" fmla="*/ 109253 w 2084621"/>
              <a:gd name="connsiteY17" fmla="*/ 382371 h 2561350"/>
              <a:gd name="connsiteX18" fmla="*/ 827043 w 2084621"/>
              <a:gd name="connsiteY18" fmla="*/ 389002 h 2561350"/>
              <a:gd name="connsiteX19" fmla="*/ 792139 w 2084621"/>
              <a:gd name="connsiteY19" fmla="*/ 283670 h 2561350"/>
              <a:gd name="connsiteX20" fmla="*/ 1027882 w 2084621"/>
              <a:gd name="connsiteY20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76730 w 2084621"/>
              <a:gd name="connsiteY14" fmla="*/ 1866419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33820 w 2090559"/>
              <a:gd name="connsiteY0" fmla="*/ 3 h 2561350"/>
              <a:gd name="connsiteX1" fmla="*/ 1248133 w 2090559"/>
              <a:gd name="connsiteY1" fmla="*/ 286050 h 2561350"/>
              <a:gd name="connsiteX2" fmla="*/ 1225997 w 2090559"/>
              <a:gd name="connsiteY2" fmla="*/ 389002 h 2561350"/>
              <a:gd name="connsiteX3" fmla="*/ 1977285 w 2090559"/>
              <a:gd name="connsiteY3" fmla="*/ 369108 h 2561350"/>
              <a:gd name="connsiteX4" fmla="*/ 1970653 w 2090559"/>
              <a:gd name="connsiteY4" fmla="*/ 1096546 h 2561350"/>
              <a:gd name="connsiteX5" fmla="*/ 1868073 w 2090559"/>
              <a:gd name="connsiteY5" fmla="*/ 1037347 h 2561350"/>
              <a:gd name="connsiteX6" fmla="*/ 1852431 w 2090559"/>
              <a:gd name="connsiteY6" fmla="*/ 1520560 h 2561350"/>
              <a:gd name="connsiteX7" fmla="*/ 2003811 w 2090559"/>
              <a:gd name="connsiteY7" fmla="*/ 1456260 h 2561350"/>
              <a:gd name="connsiteX8" fmla="*/ 1957391 w 2090559"/>
              <a:gd name="connsiteY8" fmla="*/ 2180265 h 2561350"/>
              <a:gd name="connsiteX9" fmla="*/ 1228260 w 2090559"/>
              <a:gd name="connsiteY9" fmla="*/ 2167002 h 2561350"/>
              <a:gd name="connsiteX10" fmla="*/ 1248133 w 2090559"/>
              <a:gd name="connsiteY10" fmla="*/ 2275300 h 2561350"/>
              <a:gd name="connsiteX11" fmla="*/ 798077 w 2090559"/>
              <a:gd name="connsiteY11" fmla="*/ 2277680 h 2561350"/>
              <a:gd name="connsiteX12" fmla="*/ 828010 w 2090559"/>
              <a:gd name="connsiteY12" fmla="*/ 2167002 h 2561350"/>
              <a:gd name="connsiteX13" fmla="*/ 135085 w 2090559"/>
              <a:gd name="connsiteY13" fmla="*/ 2200159 h 2561350"/>
              <a:gd name="connsiteX14" fmla="*/ 6108 w 2090559"/>
              <a:gd name="connsiteY14" fmla="*/ 1657531 h 2561350"/>
              <a:gd name="connsiteX15" fmla="*/ 276504 w 2090559"/>
              <a:gd name="connsiteY15" fmla="*/ 1561668 h 2561350"/>
              <a:gd name="connsiteX16" fmla="*/ 254230 w 2090559"/>
              <a:gd name="connsiteY16" fmla="*/ 1045298 h 2561350"/>
              <a:gd name="connsiteX17" fmla="*/ 13568 w 2090559"/>
              <a:gd name="connsiteY17" fmla="*/ 1018431 h 2561350"/>
              <a:gd name="connsiteX18" fmla="*/ 115191 w 2090559"/>
              <a:gd name="connsiteY18" fmla="*/ 382371 h 2561350"/>
              <a:gd name="connsiteX19" fmla="*/ 832981 w 2090559"/>
              <a:gd name="connsiteY19" fmla="*/ 389002 h 2561350"/>
              <a:gd name="connsiteX20" fmla="*/ 798077 w 2090559"/>
              <a:gd name="connsiteY20" fmla="*/ 283670 h 2561350"/>
              <a:gd name="connsiteX21" fmla="*/ 1033820 w 2090559"/>
              <a:gd name="connsiteY21" fmla="*/ 3 h 2561350"/>
              <a:gd name="connsiteX0" fmla="*/ 1032856 w 2089595"/>
              <a:gd name="connsiteY0" fmla="*/ 3 h 2561350"/>
              <a:gd name="connsiteX1" fmla="*/ 1247169 w 2089595"/>
              <a:gd name="connsiteY1" fmla="*/ 286050 h 2561350"/>
              <a:gd name="connsiteX2" fmla="*/ 1225033 w 2089595"/>
              <a:gd name="connsiteY2" fmla="*/ 389002 h 2561350"/>
              <a:gd name="connsiteX3" fmla="*/ 1976321 w 2089595"/>
              <a:gd name="connsiteY3" fmla="*/ 369108 h 2561350"/>
              <a:gd name="connsiteX4" fmla="*/ 1969689 w 2089595"/>
              <a:gd name="connsiteY4" fmla="*/ 1096546 h 2561350"/>
              <a:gd name="connsiteX5" fmla="*/ 1867109 w 2089595"/>
              <a:gd name="connsiteY5" fmla="*/ 1037347 h 2561350"/>
              <a:gd name="connsiteX6" fmla="*/ 1851467 w 2089595"/>
              <a:gd name="connsiteY6" fmla="*/ 1520560 h 2561350"/>
              <a:gd name="connsiteX7" fmla="*/ 2002847 w 2089595"/>
              <a:gd name="connsiteY7" fmla="*/ 1456260 h 2561350"/>
              <a:gd name="connsiteX8" fmla="*/ 1956427 w 2089595"/>
              <a:gd name="connsiteY8" fmla="*/ 2180265 h 2561350"/>
              <a:gd name="connsiteX9" fmla="*/ 1227296 w 2089595"/>
              <a:gd name="connsiteY9" fmla="*/ 2167002 h 2561350"/>
              <a:gd name="connsiteX10" fmla="*/ 1247169 w 2089595"/>
              <a:gd name="connsiteY10" fmla="*/ 2275300 h 2561350"/>
              <a:gd name="connsiteX11" fmla="*/ 797113 w 2089595"/>
              <a:gd name="connsiteY11" fmla="*/ 2277680 h 2561350"/>
              <a:gd name="connsiteX12" fmla="*/ 827046 w 2089595"/>
              <a:gd name="connsiteY12" fmla="*/ 2167002 h 2561350"/>
              <a:gd name="connsiteX13" fmla="*/ 134121 w 2089595"/>
              <a:gd name="connsiteY13" fmla="*/ 2200159 h 2561350"/>
              <a:gd name="connsiteX14" fmla="*/ 5144 w 2089595"/>
              <a:gd name="connsiteY14" fmla="*/ 1657531 h 2561350"/>
              <a:gd name="connsiteX15" fmla="*/ 275540 w 2089595"/>
              <a:gd name="connsiteY15" fmla="*/ 1561668 h 2561350"/>
              <a:gd name="connsiteX16" fmla="*/ 253266 w 2089595"/>
              <a:gd name="connsiteY16" fmla="*/ 1045298 h 2561350"/>
              <a:gd name="connsiteX17" fmla="*/ 12604 w 2089595"/>
              <a:gd name="connsiteY17" fmla="*/ 1018431 h 2561350"/>
              <a:gd name="connsiteX18" fmla="*/ 114227 w 2089595"/>
              <a:gd name="connsiteY18" fmla="*/ 382371 h 2561350"/>
              <a:gd name="connsiteX19" fmla="*/ 832017 w 2089595"/>
              <a:gd name="connsiteY19" fmla="*/ 389002 h 2561350"/>
              <a:gd name="connsiteX20" fmla="*/ 797113 w 2089595"/>
              <a:gd name="connsiteY20" fmla="*/ 283670 h 2561350"/>
              <a:gd name="connsiteX21" fmla="*/ 1032856 w 2089595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863015 w 2081039"/>
              <a:gd name="connsiteY4" fmla="*/ 1037347 h 2561350"/>
              <a:gd name="connsiteX5" fmla="*/ 1847373 w 2081039"/>
              <a:gd name="connsiteY5" fmla="*/ 1520560 h 2561350"/>
              <a:gd name="connsiteX6" fmla="*/ 1998753 w 2081039"/>
              <a:gd name="connsiteY6" fmla="*/ 1456260 h 2561350"/>
              <a:gd name="connsiteX7" fmla="*/ 1952333 w 2081039"/>
              <a:gd name="connsiteY7" fmla="*/ 2180265 h 2561350"/>
              <a:gd name="connsiteX8" fmla="*/ 1223202 w 2081039"/>
              <a:gd name="connsiteY8" fmla="*/ 2167002 h 2561350"/>
              <a:gd name="connsiteX9" fmla="*/ 1243075 w 2081039"/>
              <a:gd name="connsiteY9" fmla="*/ 2275300 h 2561350"/>
              <a:gd name="connsiteX10" fmla="*/ 793019 w 2081039"/>
              <a:gd name="connsiteY10" fmla="*/ 2277680 h 2561350"/>
              <a:gd name="connsiteX11" fmla="*/ 822952 w 2081039"/>
              <a:gd name="connsiteY11" fmla="*/ 2167002 h 2561350"/>
              <a:gd name="connsiteX12" fmla="*/ 130027 w 2081039"/>
              <a:gd name="connsiteY12" fmla="*/ 2200159 h 2561350"/>
              <a:gd name="connsiteX13" fmla="*/ 1050 w 2081039"/>
              <a:gd name="connsiteY13" fmla="*/ 1657531 h 2561350"/>
              <a:gd name="connsiteX14" fmla="*/ 271446 w 2081039"/>
              <a:gd name="connsiteY14" fmla="*/ 1561668 h 2561350"/>
              <a:gd name="connsiteX15" fmla="*/ 249172 w 2081039"/>
              <a:gd name="connsiteY15" fmla="*/ 1045298 h 2561350"/>
              <a:gd name="connsiteX16" fmla="*/ 8510 w 2081039"/>
              <a:gd name="connsiteY16" fmla="*/ 1018431 h 2561350"/>
              <a:gd name="connsiteX17" fmla="*/ 110133 w 2081039"/>
              <a:gd name="connsiteY17" fmla="*/ 382371 h 2561350"/>
              <a:gd name="connsiteX18" fmla="*/ 827923 w 2081039"/>
              <a:gd name="connsiteY18" fmla="*/ 389002 h 2561350"/>
              <a:gd name="connsiteX19" fmla="*/ 793019 w 2081039"/>
              <a:gd name="connsiteY19" fmla="*/ 283670 h 2561350"/>
              <a:gd name="connsiteX20" fmla="*/ 1028762 w 2081039"/>
              <a:gd name="connsiteY20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933270 w 2081039"/>
              <a:gd name="connsiteY4" fmla="*/ 764780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890996 w 2072429"/>
              <a:gd name="connsiteY7" fmla="*/ 1722186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47373 w 2072429"/>
              <a:gd name="connsiteY5" fmla="*/ 1535481 h 2561350"/>
              <a:gd name="connsiteX6" fmla="*/ 2065070 w 2072429"/>
              <a:gd name="connsiteY6" fmla="*/ 1597847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997927 w 2072429"/>
              <a:gd name="connsiteY5" fmla="*/ 118007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69564" h="2561350">
                <a:moveTo>
                  <a:pt x="1028762" y="3"/>
                </a:moveTo>
                <a:cubicBezTo>
                  <a:pt x="1197831" y="-691"/>
                  <a:pt x="1365814" y="120921"/>
                  <a:pt x="1243075" y="286050"/>
                </a:cubicBezTo>
                <a:cubicBezTo>
                  <a:pt x="1226965" y="315682"/>
                  <a:pt x="1215183" y="348101"/>
                  <a:pt x="1220939" y="389002"/>
                </a:cubicBezTo>
                <a:cubicBezTo>
                  <a:pt x="1226007" y="528261"/>
                  <a:pt x="1696102" y="461119"/>
                  <a:pt x="1959793" y="361648"/>
                </a:cubicBezTo>
                <a:cubicBezTo>
                  <a:pt x="2053648" y="496394"/>
                  <a:pt x="2070837" y="822506"/>
                  <a:pt x="2067556" y="961234"/>
                </a:cubicBezTo>
                <a:cubicBezTo>
                  <a:pt x="2071425" y="1080232"/>
                  <a:pt x="2014728" y="1106744"/>
                  <a:pt x="1881048" y="1030865"/>
                </a:cubicBezTo>
                <a:cubicBezTo>
                  <a:pt x="1483772" y="845572"/>
                  <a:pt x="1585020" y="1699608"/>
                  <a:pt x="1847373" y="1535481"/>
                </a:cubicBezTo>
                <a:cubicBezTo>
                  <a:pt x="1929125" y="1495441"/>
                  <a:pt x="2055039" y="1373504"/>
                  <a:pt x="2065070" y="1597847"/>
                </a:cubicBezTo>
                <a:cubicBezTo>
                  <a:pt x="2080077" y="1677957"/>
                  <a:pt x="2061145" y="2086235"/>
                  <a:pt x="1952333" y="2180265"/>
                </a:cubicBezTo>
                <a:cubicBezTo>
                  <a:pt x="1755709" y="2153739"/>
                  <a:pt x="1373407" y="2007849"/>
                  <a:pt x="1223202" y="2167002"/>
                </a:cubicBezTo>
                <a:cubicBezTo>
                  <a:pt x="1209721" y="2193452"/>
                  <a:pt x="1212523" y="2230274"/>
                  <a:pt x="1243075" y="2275300"/>
                </a:cubicBezTo>
                <a:cubicBezTo>
                  <a:pt x="1483581" y="2660267"/>
                  <a:pt x="581086" y="2652331"/>
                  <a:pt x="793019" y="2277680"/>
                </a:cubicBezTo>
                <a:cubicBezTo>
                  <a:pt x="831994" y="2223379"/>
                  <a:pt x="839802" y="2190096"/>
                  <a:pt x="822952" y="2167002"/>
                </a:cubicBezTo>
                <a:cubicBezTo>
                  <a:pt x="720184" y="2021111"/>
                  <a:pt x="378685" y="2147108"/>
                  <a:pt x="130027" y="2200159"/>
                </a:cubicBezTo>
                <a:cubicBezTo>
                  <a:pt x="37391" y="2130168"/>
                  <a:pt x="-7600" y="1771407"/>
                  <a:pt x="1050" y="1657531"/>
                </a:cubicBezTo>
                <a:cubicBezTo>
                  <a:pt x="24620" y="1416831"/>
                  <a:pt x="117773" y="1502066"/>
                  <a:pt x="271446" y="1561668"/>
                </a:cubicBezTo>
                <a:cubicBezTo>
                  <a:pt x="483628" y="1635999"/>
                  <a:pt x="591036" y="1022800"/>
                  <a:pt x="249172" y="1045298"/>
                </a:cubicBezTo>
                <a:cubicBezTo>
                  <a:pt x="168463" y="1050498"/>
                  <a:pt x="31683" y="1183628"/>
                  <a:pt x="8510" y="1018431"/>
                </a:cubicBezTo>
                <a:cubicBezTo>
                  <a:pt x="-14663" y="907943"/>
                  <a:pt x="13766" y="478572"/>
                  <a:pt x="110133" y="382371"/>
                </a:cubicBezTo>
                <a:cubicBezTo>
                  <a:pt x="506339" y="514999"/>
                  <a:pt x="789812" y="488473"/>
                  <a:pt x="827923" y="389002"/>
                </a:cubicBezTo>
                <a:cubicBezTo>
                  <a:pt x="838244" y="365427"/>
                  <a:pt x="828672" y="333342"/>
                  <a:pt x="793019" y="283670"/>
                </a:cubicBezTo>
                <a:cubicBezTo>
                  <a:pt x="687053" y="96344"/>
                  <a:pt x="859693" y="698"/>
                  <a:pt x="1028762" y="3"/>
                </a:cubicBezTo>
                <a:close/>
              </a:path>
            </a:pathLst>
          </a:custGeom>
          <a:solidFill>
            <a:srgbClr val="6C6C6C"/>
          </a:solidFill>
          <a:ln w="9525">
            <a:noFill/>
          </a:ln>
          <a:scene3d>
            <a:camera prst="orthographicFront"/>
            <a:lightRig rig="threePt" dir="t"/>
          </a:scene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TextBox 152"/>
          <p:cNvSpPr txBox="1"/>
          <p:nvPr/>
        </p:nvSpPr>
        <p:spPr>
          <a:xfrm>
            <a:off x="1848723" y="3037279"/>
            <a:ext cx="820956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enue</a:t>
            </a:r>
          </a:p>
        </p:txBody>
      </p:sp>
      <p:sp>
        <p:nvSpPr>
          <p:cNvPr id="154" name="Rectangle 5"/>
          <p:cNvSpPr/>
          <p:nvPr/>
        </p:nvSpPr>
        <p:spPr>
          <a:xfrm rot="10800000">
            <a:off x="6192805" y="1306030"/>
            <a:ext cx="1271670" cy="1596228"/>
          </a:xfrm>
          <a:custGeom>
            <a:avLst/>
            <a:gdLst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949187"/>
              <a:gd name="connsiteY0" fmla="*/ 3 h 2561350"/>
              <a:gd name="connsiteX1" fmla="*/ 1132942 w 1949187"/>
              <a:gd name="connsiteY1" fmla="*/ 286050 h 2561350"/>
              <a:gd name="connsiteX2" fmla="*/ 1110806 w 1949187"/>
              <a:gd name="connsiteY2" fmla="*/ 389002 h 2561350"/>
              <a:gd name="connsiteX3" fmla="*/ 1862094 w 1949187"/>
              <a:gd name="connsiteY3" fmla="*/ 369108 h 2561350"/>
              <a:gd name="connsiteX4" fmla="*/ 1842200 w 1949187"/>
              <a:gd name="connsiteY4" fmla="*/ 1063389 h 2561350"/>
              <a:gd name="connsiteX5" fmla="*/ 1752882 w 1949187"/>
              <a:gd name="connsiteY5" fmla="*/ 1037347 h 2561350"/>
              <a:gd name="connsiteX6" fmla="*/ 1750502 w 1949187"/>
              <a:gd name="connsiteY6" fmla="*/ 1487403 h 2561350"/>
              <a:gd name="connsiteX7" fmla="*/ 1842200 w 1949187"/>
              <a:gd name="connsiteY7" fmla="*/ 1449629 h 2561350"/>
              <a:gd name="connsiteX8" fmla="*/ 1842200 w 1949187"/>
              <a:gd name="connsiteY8" fmla="*/ 2167002 h 2561350"/>
              <a:gd name="connsiteX9" fmla="*/ 1113069 w 1949187"/>
              <a:gd name="connsiteY9" fmla="*/ 2167002 h 2561350"/>
              <a:gd name="connsiteX10" fmla="*/ 1132942 w 1949187"/>
              <a:gd name="connsiteY10" fmla="*/ 2275300 h 2561350"/>
              <a:gd name="connsiteX11" fmla="*/ 682886 w 1949187"/>
              <a:gd name="connsiteY11" fmla="*/ 2277680 h 2561350"/>
              <a:gd name="connsiteX12" fmla="*/ 712819 w 1949187"/>
              <a:gd name="connsiteY12" fmla="*/ 2167002 h 2561350"/>
              <a:gd name="connsiteX13" fmla="*/ 46420 w 1949187"/>
              <a:gd name="connsiteY13" fmla="*/ 2167002 h 2561350"/>
              <a:gd name="connsiteX14" fmla="*/ 46420 w 1949187"/>
              <a:gd name="connsiteY14" fmla="*/ 1458174 h 2561350"/>
              <a:gd name="connsiteX15" fmla="*/ 141419 w 1949187"/>
              <a:gd name="connsiteY15" fmla="*/ 1495354 h 2561350"/>
              <a:gd name="connsiteX16" fmla="*/ 139039 w 1949187"/>
              <a:gd name="connsiteY16" fmla="*/ 1045298 h 2561350"/>
              <a:gd name="connsiteX17" fmla="*/ 46420 w 1949187"/>
              <a:gd name="connsiteY17" fmla="*/ 1071146 h 2561350"/>
              <a:gd name="connsiteX18" fmla="*/ 0 w 1949187"/>
              <a:gd name="connsiteY18" fmla="*/ 382371 h 2561350"/>
              <a:gd name="connsiteX19" fmla="*/ 717790 w 1949187"/>
              <a:gd name="connsiteY19" fmla="*/ 389002 h 2561350"/>
              <a:gd name="connsiteX20" fmla="*/ 682886 w 1949187"/>
              <a:gd name="connsiteY20" fmla="*/ 283670 h 2561350"/>
              <a:gd name="connsiteX21" fmla="*/ 918629 w 1949187"/>
              <a:gd name="connsiteY21" fmla="*/ 3 h 2561350"/>
              <a:gd name="connsiteX0" fmla="*/ 918629 w 1966660"/>
              <a:gd name="connsiteY0" fmla="*/ 3 h 2561350"/>
              <a:gd name="connsiteX1" fmla="*/ 1132942 w 1966660"/>
              <a:gd name="connsiteY1" fmla="*/ 286050 h 2561350"/>
              <a:gd name="connsiteX2" fmla="*/ 1110806 w 1966660"/>
              <a:gd name="connsiteY2" fmla="*/ 389002 h 2561350"/>
              <a:gd name="connsiteX3" fmla="*/ 1862094 w 1966660"/>
              <a:gd name="connsiteY3" fmla="*/ 369108 h 2561350"/>
              <a:gd name="connsiteX4" fmla="*/ 1842200 w 1966660"/>
              <a:gd name="connsiteY4" fmla="*/ 1063389 h 2561350"/>
              <a:gd name="connsiteX5" fmla="*/ 1752882 w 1966660"/>
              <a:gd name="connsiteY5" fmla="*/ 1037347 h 2561350"/>
              <a:gd name="connsiteX6" fmla="*/ 1750502 w 1966660"/>
              <a:gd name="connsiteY6" fmla="*/ 1487403 h 2561350"/>
              <a:gd name="connsiteX7" fmla="*/ 1842200 w 1966660"/>
              <a:gd name="connsiteY7" fmla="*/ 1449629 h 2561350"/>
              <a:gd name="connsiteX8" fmla="*/ 1842200 w 1966660"/>
              <a:gd name="connsiteY8" fmla="*/ 2167002 h 2561350"/>
              <a:gd name="connsiteX9" fmla="*/ 1113069 w 1966660"/>
              <a:gd name="connsiteY9" fmla="*/ 2167002 h 2561350"/>
              <a:gd name="connsiteX10" fmla="*/ 1132942 w 1966660"/>
              <a:gd name="connsiteY10" fmla="*/ 2275300 h 2561350"/>
              <a:gd name="connsiteX11" fmla="*/ 682886 w 1966660"/>
              <a:gd name="connsiteY11" fmla="*/ 2277680 h 2561350"/>
              <a:gd name="connsiteX12" fmla="*/ 712819 w 1966660"/>
              <a:gd name="connsiteY12" fmla="*/ 2167002 h 2561350"/>
              <a:gd name="connsiteX13" fmla="*/ 46420 w 1966660"/>
              <a:gd name="connsiteY13" fmla="*/ 2167002 h 2561350"/>
              <a:gd name="connsiteX14" fmla="*/ 46420 w 1966660"/>
              <a:gd name="connsiteY14" fmla="*/ 1458174 h 2561350"/>
              <a:gd name="connsiteX15" fmla="*/ 141419 w 1966660"/>
              <a:gd name="connsiteY15" fmla="*/ 1495354 h 2561350"/>
              <a:gd name="connsiteX16" fmla="*/ 139039 w 1966660"/>
              <a:gd name="connsiteY16" fmla="*/ 1045298 h 2561350"/>
              <a:gd name="connsiteX17" fmla="*/ 46420 w 1966660"/>
              <a:gd name="connsiteY17" fmla="*/ 1071146 h 2561350"/>
              <a:gd name="connsiteX18" fmla="*/ 0 w 1966660"/>
              <a:gd name="connsiteY18" fmla="*/ 382371 h 2561350"/>
              <a:gd name="connsiteX19" fmla="*/ 717790 w 1966660"/>
              <a:gd name="connsiteY19" fmla="*/ 389002 h 2561350"/>
              <a:gd name="connsiteX20" fmla="*/ 682886 w 1966660"/>
              <a:gd name="connsiteY20" fmla="*/ 283670 h 2561350"/>
              <a:gd name="connsiteX21" fmla="*/ 918629 w 1966660"/>
              <a:gd name="connsiteY21" fmla="*/ 3 h 2561350"/>
              <a:gd name="connsiteX0" fmla="*/ 1023861 w 2071892"/>
              <a:gd name="connsiteY0" fmla="*/ 3 h 2561350"/>
              <a:gd name="connsiteX1" fmla="*/ 1238174 w 2071892"/>
              <a:gd name="connsiteY1" fmla="*/ 286050 h 2561350"/>
              <a:gd name="connsiteX2" fmla="*/ 1216038 w 2071892"/>
              <a:gd name="connsiteY2" fmla="*/ 389002 h 2561350"/>
              <a:gd name="connsiteX3" fmla="*/ 1967326 w 2071892"/>
              <a:gd name="connsiteY3" fmla="*/ 369108 h 2561350"/>
              <a:gd name="connsiteX4" fmla="*/ 1947432 w 2071892"/>
              <a:gd name="connsiteY4" fmla="*/ 1063389 h 2561350"/>
              <a:gd name="connsiteX5" fmla="*/ 1858114 w 2071892"/>
              <a:gd name="connsiteY5" fmla="*/ 1037347 h 2561350"/>
              <a:gd name="connsiteX6" fmla="*/ 1855734 w 2071892"/>
              <a:gd name="connsiteY6" fmla="*/ 1487403 h 2561350"/>
              <a:gd name="connsiteX7" fmla="*/ 1947432 w 2071892"/>
              <a:gd name="connsiteY7" fmla="*/ 1449629 h 2561350"/>
              <a:gd name="connsiteX8" fmla="*/ 1947432 w 2071892"/>
              <a:gd name="connsiteY8" fmla="*/ 2167002 h 2561350"/>
              <a:gd name="connsiteX9" fmla="*/ 1218301 w 2071892"/>
              <a:gd name="connsiteY9" fmla="*/ 2167002 h 2561350"/>
              <a:gd name="connsiteX10" fmla="*/ 1238174 w 2071892"/>
              <a:gd name="connsiteY10" fmla="*/ 2275300 h 2561350"/>
              <a:gd name="connsiteX11" fmla="*/ 788118 w 2071892"/>
              <a:gd name="connsiteY11" fmla="*/ 2277680 h 2561350"/>
              <a:gd name="connsiteX12" fmla="*/ 818051 w 2071892"/>
              <a:gd name="connsiteY12" fmla="*/ 2167002 h 2561350"/>
              <a:gd name="connsiteX13" fmla="*/ 151652 w 2071892"/>
              <a:gd name="connsiteY13" fmla="*/ 2167002 h 2561350"/>
              <a:gd name="connsiteX14" fmla="*/ 151652 w 2071892"/>
              <a:gd name="connsiteY14" fmla="*/ 1458174 h 2561350"/>
              <a:gd name="connsiteX15" fmla="*/ 246651 w 2071892"/>
              <a:gd name="connsiteY15" fmla="*/ 1495354 h 2561350"/>
              <a:gd name="connsiteX16" fmla="*/ 244271 w 2071892"/>
              <a:gd name="connsiteY16" fmla="*/ 1045298 h 2561350"/>
              <a:gd name="connsiteX17" fmla="*/ 151652 w 2071892"/>
              <a:gd name="connsiteY17" fmla="*/ 1071146 h 2561350"/>
              <a:gd name="connsiteX18" fmla="*/ 105232 w 2071892"/>
              <a:gd name="connsiteY18" fmla="*/ 382371 h 2561350"/>
              <a:gd name="connsiteX19" fmla="*/ 823022 w 2071892"/>
              <a:gd name="connsiteY19" fmla="*/ 389002 h 2561350"/>
              <a:gd name="connsiteX20" fmla="*/ 788118 w 2071892"/>
              <a:gd name="connsiteY20" fmla="*/ 283670 h 2561350"/>
              <a:gd name="connsiteX21" fmla="*/ 1023861 w 2071892"/>
              <a:gd name="connsiteY21" fmla="*/ 3 h 2561350"/>
              <a:gd name="connsiteX0" fmla="*/ 1039756 w 2087787"/>
              <a:gd name="connsiteY0" fmla="*/ 3 h 2561350"/>
              <a:gd name="connsiteX1" fmla="*/ 1254069 w 2087787"/>
              <a:gd name="connsiteY1" fmla="*/ 286050 h 2561350"/>
              <a:gd name="connsiteX2" fmla="*/ 1231933 w 2087787"/>
              <a:gd name="connsiteY2" fmla="*/ 389002 h 2561350"/>
              <a:gd name="connsiteX3" fmla="*/ 1983221 w 2087787"/>
              <a:gd name="connsiteY3" fmla="*/ 369108 h 2561350"/>
              <a:gd name="connsiteX4" fmla="*/ 1963327 w 2087787"/>
              <a:gd name="connsiteY4" fmla="*/ 1063389 h 2561350"/>
              <a:gd name="connsiteX5" fmla="*/ 1874009 w 2087787"/>
              <a:gd name="connsiteY5" fmla="*/ 1037347 h 2561350"/>
              <a:gd name="connsiteX6" fmla="*/ 1871629 w 2087787"/>
              <a:gd name="connsiteY6" fmla="*/ 1487403 h 2561350"/>
              <a:gd name="connsiteX7" fmla="*/ 1963327 w 2087787"/>
              <a:gd name="connsiteY7" fmla="*/ 1449629 h 2561350"/>
              <a:gd name="connsiteX8" fmla="*/ 1963327 w 2087787"/>
              <a:gd name="connsiteY8" fmla="*/ 2167002 h 2561350"/>
              <a:gd name="connsiteX9" fmla="*/ 1234196 w 2087787"/>
              <a:gd name="connsiteY9" fmla="*/ 2167002 h 2561350"/>
              <a:gd name="connsiteX10" fmla="*/ 1254069 w 2087787"/>
              <a:gd name="connsiteY10" fmla="*/ 2275300 h 2561350"/>
              <a:gd name="connsiteX11" fmla="*/ 804013 w 2087787"/>
              <a:gd name="connsiteY11" fmla="*/ 2277680 h 2561350"/>
              <a:gd name="connsiteX12" fmla="*/ 833946 w 2087787"/>
              <a:gd name="connsiteY12" fmla="*/ 2167002 h 2561350"/>
              <a:gd name="connsiteX13" fmla="*/ 167547 w 2087787"/>
              <a:gd name="connsiteY13" fmla="*/ 2167002 h 2561350"/>
              <a:gd name="connsiteX14" fmla="*/ 167547 w 2087787"/>
              <a:gd name="connsiteY14" fmla="*/ 1458174 h 2561350"/>
              <a:gd name="connsiteX15" fmla="*/ 262546 w 2087787"/>
              <a:gd name="connsiteY15" fmla="*/ 1495354 h 2561350"/>
              <a:gd name="connsiteX16" fmla="*/ 260166 w 2087787"/>
              <a:gd name="connsiteY16" fmla="*/ 1045298 h 2561350"/>
              <a:gd name="connsiteX17" fmla="*/ 167547 w 2087787"/>
              <a:gd name="connsiteY17" fmla="*/ 1071146 h 2561350"/>
              <a:gd name="connsiteX18" fmla="*/ 121127 w 2087787"/>
              <a:gd name="connsiteY18" fmla="*/ 382371 h 2561350"/>
              <a:gd name="connsiteX19" fmla="*/ 838917 w 2087787"/>
              <a:gd name="connsiteY19" fmla="*/ 389002 h 2561350"/>
              <a:gd name="connsiteX20" fmla="*/ 804013 w 2087787"/>
              <a:gd name="connsiteY20" fmla="*/ 283670 h 2561350"/>
              <a:gd name="connsiteX21" fmla="*/ 1039756 w 2087787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88885"/>
              <a:gd name="connsiteY0" fmla="*/ 3 h 2561350"/>
              <a:gd name="connsiteX1" fmla="*/ 1239747 w 2088885"/>
              <a:gd name="connsiteY1" fmla="*/ 286050 h 2561350"/>
              <a:gd name="connsiteX2" fmla="*/ 1217611 w 2088885"/>
              <a:gd name="connsiteY2" fmla="*/ 389002 h 2561350"/>
              <a:gd name="connsiteX3" fmla="*/ 1968899 w 2088885"/>
              <a:gd name="connsiteY3" fmla="*/ 369108 h 2561350"/>
              <a:gd name="connsiteX4" fmla="*/ 1949005 w 2088885"/>
              <a:gd name="connsiteY4" fmla="*/ 1063389 h 2561350"/>
              <a:gd name="connsiteX5" fmla="*/ 1859687 w 2088885"/>
              <a:gd name="connsiteY5" fmla="*/ 1037347 h 2561350"/>
              <a:gd name="connsiteX6" fmla="*/ 1857307 w 2088885"/>
              <a:gd name="connsiteY6" fmla="*/ 1487403 h 2561350"/>
              <a:gd name="connsiteX7" fmla="*/ 1949005 w 2088885"/>
              <a:gd name="connsiteY7" fmla="*/ 1449629 h 2561350"/>
              <a:gd name="connsiteX8" fmla="*/ 1949005 w 2088885"/>
              <a:gd name="connsiteY8" fmla="*/ 2167002 h 2561350"/>
              <a:gd name="connsiteX9" fmla="*/ 1219874 w 2088885"/>
              <a:gd name="connsiteY9" fmla="*/ 2167002 h 2561350"/>
              <a:gd name="connsiteX10" fmla="*/ 1239747 w 2088885"/>
              <a:gd name="connsiteY10" fmla="*/ 2275300 h 2561350"/>
              <a:gd name="connsiteX11" fmla="*/ 789691 w 2088885"/>
              <a:gd name="connsiteY11" fmla="*/ 2277680 h 2561350"/>
              <a:gd name="connsiteX12" fmla="*/ 819624 w 2088885"/>
              <a:gd name="connsiteY12" fmla="*/ 2167002 h 2561350"/>
              <a:gd name="connsiteX13" fmla="*/ 153225 w 2088885"/>
              <a:gd name="connsiteY13" fmla="*/ 2167002 h 2561350"/>
              <a:gd name="connsiteX14" fmla="*/ 153225 w 2088885"/>
              <a:gd name="connsiteY14" fmla="*/ 1458174 h 2561350"/>
              <a:gd name="connsiteX15" fmla="*/ 248224 w 2088885"/>
              <a:gd name="connsiteY15" fmla="*/ 1495354 h 2561350"/>
              <a:gd name="connsiteX16" fmla="*/ 245844 w 2088885"/>
              <a:gd name="connsiteY16" fmla="*/ 1045298 h 2561350"/>
              <a:gd name="connsiteX17" fmla="*/ 153225 w 2088885"/>
              <a:gd name="connsiteY17" fmla="*/ 1071146 h 2561350"/>
              <a:gd name="connsiteX18" fmla="*/ 106805 w 2088885"/>
              <a:gd name="connsiteY18" fmla="*/ 382371 h 2561350"/>
              <a:gd name="connsiteX19" fmla="*/ 824595 w 2088885"/>
              <a:gd name="connsiteY19" fmla="*/ 389002 h 2561350"/>
              <a:gd name="connsiteX20" fmla="*/ 789691 w 2088885"/>
              <a:gd name="connsiteY20" fmla="*/ 283670 h 2561350"/>
              <a:gd name="connsiteX21" fmla="*/ 1025434 w 208888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102756"/>
              <a:gd name="connsiteY0" fmla="*/ 3 h 2561350"/>
              <a:gd name="connsiteX1" fmla="*/ 1239747 w 2102756"/>
              <a:gd name="connsiteY1" fmla="*/ 286050 h 2561350"/>
              <a:gd name="connsiteX2" fmla="*/ 1217611 w 2102756"/>
              <a:gd name="connsiteY2" fmla="*/ 389002 h 2561350"/>
              <a:gd name="connsiteX3" fmla="*/ 1968899 w 2102756"/>
              <a:gd name="connsiteY3" fmla="*/ 369108 h 2561350"/>
              <a:gd name="connsiteX4" fmla="*/ 1949005 w 2102756"/>
              <a:gd name="connsiteY4" fmla="*/ 1063389 h 2561350"/>
              <a:gd name="connsiteX5" fmla="*/ 1859687 w 2102756"/>
              <a:gd name="connsiteY5" fmla="*/ 1037347 h 2561350"/>
              <a:gd name="connsiteX6" fmla="*/ 1857307 w 2102756"/>
              <a:gd name="connsiteY6" fmla="*/ 1487403 h 2561350"/>
              <a:gd name="connsiteX7" fmla="*/ 1995425 w 2102756"/>
              <a:gd name="connsiteY7" fmla="*/ 1456260 h 2561350"/>
              <a:gd name="connsiteX8" fmla="*/ 1949005 w 2102756"/>
              <a:gd name="connsiteY8" fmla="*/ 2167002 h 2561350"/>
              <a:gd name="connsiteX9" fmla="*/ 1219874 w 2102756"/>
              <a:gd name="connsiteY9" fmla="*/ 2167002 h 2561350"/>
              <a:gd name="connsiteX10" fmla="*/ 1239747 w 2102756"/>
              <a:gd name="connsiteY10" fmla="*/ 2275300 h 2561350"/>
              <a:gd name="connsiteX11" fmla="*/ 789691 w 2102756"/>
              <a:gd name="connsiteY11" fmla="*/ 2277680 h 2561350"/>
              <a:gd name="connsiteX12" fmla="*/ 819624 w 2102756"/>
              <a:gd name="connsiteY12" fmla="*/ 2167002 h 2561350"/>
              <a:gd name="connsiteX13" fmla="*/ 153225 w 2102756"/>
              <a:gd name="connsiteY13" fmla="*/ 2167002 h 2561350"/>
              <a:gd name="connsiteX14" fmla="*/ 153225 w 2102756"/>
              <a:gd name="connsiteY14" fmla="*/ 1458174 h 2561350"/>
              <a:gd name="connsiteX15" fmla="*/ 248224 w 2102756"/>
              <a:gd name="connsiteY15" fmla="*/ 1495354 h 2561350"/>
              <a:gd name="connsiteX16" fmla="*/ 245844 w 2102756"/>
              <a:gd name="connsiteY16" fmla="*/ 1045298 h 2561350"/>
              <a:gd name="connsiteX17" fmla="*/ 153225 w 2102756"/>
              <a:gd name="connsiteY17" fmla="*/ 1071146 h 2561350"/>
              <a:gd name="connsiteX18" fmla="*/ 106805 w 2102756"/>
              <a:gd name="connsiteY18" fmla="*/ 382371 h 2561350"/>
              <a:gd name="connsiteX19" fmla="*/ 824595 w 2102756"/>
              <a:gd name="connsiteY19" fmla="*/ 389002 h 2561350"/>
              <a:gd name="connsiteX20" fmla="*/ 789691 w 2102756"/>
              <a:gd name="connsiteY20" fmla="*/ 283670 h 2561350"/>
              <a:gd name="connsiteX21" fmla="*/ 1025434 w 2102756"/>
              <a:gd name="connsiteY21" fmla="*/ 3 h 2561350"/>
              <a:gd name="connsiteX0" fmla="*/ 1025434 w 2076232"/>
              <a:gd name="connsiteY0" fmla="*/ 3 h 2561350"/>
              <a:gd name="connsiteX1" fmla="*/ 1239747 w 2076232"/>
              <a:gd name="connsiteY1" fmla="*/ 286050 h 2561350"/>
              <a:gd name="connsiteX2" fmla="*/ 1217611 w 2076232"/>
              <a:gd name="connsiteY2" fmla="*/ 389002 h 2561350"/>
              <a:gd name="connsiteX3" fmla="*/ 1968899 w 2076232"/>
              <a:gd name="connsiteY3" fmla="*/ 369108 h 2561350"/>
              <a:gd name="connsiteX4" fmla="*/ 1949005 w 2076232"/>
              <a:gd name="connsiteY4" fmla="*/ 1063389 h 2561350"/>
              <a:gd name="connsiteX5" fmla="*/ 1859687 w 2076232"/>
              <a:gd name="connsiteY5" fmla="*/ 1037347 h 2561350"/>
              <a:gd name="connsiteX6" fmla="*/ 1857307 w 2076232"/>
              <a:gd name="connsiteY6" fmla="*/ 1487403 h 2561350"/>
              <a:gd name="connsiteX7" fmla="*/ 1995425 w 2076232"/>
              <a:gd name="connsiteY7" fmla="*/ 1456260 h 2561350"/>
              <a:gd name="connsiteX8" fmla="*/ 1949005 w 2076232"/>
              <a:gd name="connsiteY8" fmla="*/ 2167002 h 2561350"/>
              <a:gd name="connsiteX9" fmla="*/ 1219874 w 2076232"/>
              <a:gd name="connsiteY9" fmla="*/ 2167002 h 2561350"/>
              <a:gd name="connsiteX10" fmla="*/ 1239747 w 2076232"/>
              <a:gd name="connsiteY10" fmla="*/ 2275300 h 2561350"/>
              <a:gd name="connsiteX11" fmla="*/ 789691 w 2076232"/>
              <a:gd name="connsiteY11" fmla="*/ 2277680 h 2561350"/>
              <a:gd name="connsiteX12" fmla="*/ 819624 w 2076232"/>
              <a:gd name="connsiteY12" fmla="*/ 2167002 h 2561350"/>
              <a:gd name="connsiteX13" fmla="*/ 153225 w 2076232"/>
              <a:gd name="connsiteY13" fmla="*/ 2167002 h 2561350"/>
              <a:gd name="connsiteX14" fmla="*/ 153225 w 2076232"/>
              <a:gd name="connsiteY14" fmla="*/ 1458174 h 2561350"/>
              <a:gd name="connsiteX15" fmla="*/ 248224 w 2076232"/>
              <a:gd name="connsiteY15" fmla="*/ 1495354 h 2561350"/>
              <a:gd name="connsiteX16" fmla="*/ 245844 w 2076232"/>
              <a:gd name="connsiteY16" fmla="*/ 1045298 h 2561350"/>
              <a:gd name="connsiteX17" fmla="*/ 153225 w 2076232"/>
              <a:gd name="connsiteY17" fmla="*/ 1071146 h 2561350"/>
              <a:gd name="connsiteX18" fmla="*/ 106805 w 2076232"/>
              <a:gd name="connsiteY18" fmla="*/ 382371 h 2561350"/>
              <a:gd name="connsiteX19" fmla="*/ 824595 w 2076232"/>
              <a:gd name="connsiteY19" fmla="*/ 389002 h 2561350"/>
              <a:gd name="connsiteX20" fmla="*/ 789691 w 2076232"/>
              <a:gd name="connsiteY20" fmla="*/ 283670 h 2561350"/>
              <a:gd name="connsiteX21" fmla="*/ 1025434 w 2076232"/>
              <a:gd name="connsiteY21" fmla="*/ 3 h 2561350"/>
              <a:gd name="connsiteX0" fmla="*/ 1025434 w 2077711"/>
              <a:gd name="connsiteY0" fmla="*/ 3 h 2561350"/>
              <a:gd name="connsiteX1" fmla="*/ 1239747 w 2077711"/>
              <a:gd name="connsiteY1" fmla="*/ 286050 h 2561350"/>
              <a:gd name="connsiteX2" fmla="*/ 1217611 w 2077711"/>
              <a:gd name="connsiteY2" fmla="*/ 389002 h 2561350"/>
              <a:gd name="connsiteX3" fmla="*/ 1968899 w 2077711"/>
              <a:gd name="connsiteY3" fmla="*/ 369108 h 2561350"/>
              <a:gd name="connsiteX4" fmla="*/ 1949005 w 2077711"/>
              <a:gd name="connsiteY4" fmla="*/ 1063389 h 2561350"/>
              <a:gd name="connsiteX5" fmla="*/ 1859687 w 2077711"/>
              <a:gd name="connsiteY5" fmla="*/ 1037347 h 2561350"/>
              <a:gd name="connsiteX6" fmla="*/ 1857307 w 2077711"/>
              <a:gd name="connsiteY6" fmla="*/ 1487403 h 2561350"/>
              <a:gd name="connsiteX7" fmla="*/ 1995425 w 2077711"/>
              <a:gd name="connsiteY7" fmla="*/ 1456260 h 2561350"/>
              <a:gd name="connsiteX8" fmla="*/ 1949005 w 2077711"/>
              <a:gd name="connsiteY8" fmla="*/ 2167002 h 2561350"/>
              <a:gd name="connsiteX9" fmla="*/ 1219874 w 2077711"/>
              <a:gd name="connsiteY9" fmla="*/ 2167002 h 2561350"/>
              <a:gd name="connsiteX10" fmla="*/ 1239747 w 2077711"/>
              <a:gd name="connsiteY10" fmla="*/ 2275300 h 2561350"/>
              <a:gd name="connsiteX11" fmla="*/ 789691 w 2077711"/>
              <a:gd name="connsiteY11" fmla="*/ 2277680 h 2561350"/>
              <a:gd name="connsiteX12" fmla="*/ 819624 w 2077711"/>
              <a:gd name="connsiteY12" fmla="*/ 2167002 h 2561350"/>
              <a:gd name="connsiteX13" fmla="*/ 153225 w 2077711"/>
              <a:gd name="connsiteY13" fmla="*/ 2167002 h 2561350"/>
              <a:gd name="connsiteX14" fmla="*/ 153225 w 2077711"/>
              <a:gd name="connsiteY14" fmla="*/ 1458174 h 2561350"/>
              <a:gd name="connsiteX15" fmla="*/ 248224 w 2077711"/>
              <a:gd name="connsiteY15" fmla="*/ 1495354 h 2561350"/>
              <a:gd name="connsiteX16" fmla="*/ 245844 w 2077711"/>
              <a:gd name="connsiteY16" fmla="*/ 1045298 h 2561350"/>
              <a:gd name="connsiteX17" fmla="*/ 153225 w 2077711"/>
              <a:gd name="connsiteY17" fmla="*/ 1071146 h 2561350"/>
              <a:gd name="connsiteX18" fmla="*/ 106805 w 2077711"/>
              <a:gd name="connsiteY18" fmla="*/ 382371 h 2561350"/>
              <a:gd name="connsiteX19" fmla="*/ 824595 w 2077711"/>
              <a:gd name="connsiteY19" fmla="*/ 389002 h 2561350"/>
              <a:gd name="connsiteX20" fmla="*/ 789691 w 2077711"/>
              <a:gd name="connsiteY20" fmla="*/ 283670 h 2561350"/>
              <a:gd name="connsiteX21" fmla="*/ 1025434 w 2077711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13436 w 2082173"/>
              <a:gd name="connsiteY14" fmla="*/ 1511225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38495 w 2095234"/>
              <a:gd name="connsiteY0" fmla="*/ 3 h 2561350"/>
              <a:gd name="connsiteX1" fmla="*/ 1252808 w 2095234"/>
              <a:gd name="connsiteY1" fmla="*/ 286050 h 2561350"/>
              <a:gd name="connsiteX2" fmla="*/ 1230672 w 2095234"/>
              <a:gd name="connsiteY2" fmla="*/ 389002 h 2561350"/>
              <a:gd name="connsiteX3" fmla="*/ 1981960 w 2095234"/>
              <a:gd name="connsiteY3" fmla="*/ 369108 h 2561350"/>
              <a:gd name="connsiteX4" fmla="*/ 1975328 w 2095234"/>
              <a:gd name="connsiteY4" fmla="*/ 1096546 h 2561350"/>
              <a:gd name="connsiteX5" fmla="*/ 1872748 w 2095234"/>
              <a:gd name="connsiteY5" fmla="*/ 1037347 h 2561350"/>
              <a:gd name="connsiteX6" fmla="*/ 1857106 w 2095234"/>
              <a:gd name="connsiteY6" fmla="*/ 1520560 h 2561350"/>
              <a:gd name="connsiteX7" fmla="*/ 2008486 w 2095234"/>
              <a:gd name="connsiteY7" fmla="*/ 1456260 h 2561350"/>
              <a:gd name="connsiteX8" fmla="*/ 1962066 w 2095234"/>
              <a:gd name="connsiteY8" fmla="*/ 2180265 h 2561350"/>
              <a:gd name="connsiteX9" fmla="*/ 1232935 w 2095234"/>
              <a:gd name="connsiteY9" fmla="*/ 2167002 h 2561350"/>
              <a:gd name="connsiteX10" fmla="*/ 1252808 w 2095234"/>
              <a:gd name="connsiteY10" fmla="*/ 2275300 h 2561350"/>
              <a:gd name="connsiteX11" fmla="*/ 802752 w 2095234"/>
              <a:gd name="connsiteY11" fmla="*/ 2277680 h 2561350"/>
              <a:gd name="connsiteX12" fmla="*/ 832685 w 2095234"/>
              <a:gd name="connsiteY12" fmla="*/ 2167002 h 2561350"/>
              <a:gd name="connsiteX13" fmla="*/ 139760 w 2095234"/>
              <a:gd name="connsiteY13" fmla="*/ 2200159 h 2561350"/>
              <a:gd name="connsiteX14" fmla="*/ 119866 w 2095234"/>
              <a:gd name="connsiteY14" fmla="*/ 1497962 h 2561350"/>
              <a:gd name="connsiteX15" fmla="*/ 281179 w 2095234"/>
              <a:gd name="connsiteY15" fmla="*/ 1561668 h 2561350"/>
              <a:gd name="connsiteX16" fmla="*/ 258905 w 2095234"/>
              <a:gd name="connsiteY16" fmla="*/ 1045298 h 2561350"/>
              <a:gd name="connsiteX17" fmla="*/ 146392 w 2095234"/>
              <a:gd name="connsiteY17" fmla="*/ 1091040 h 2561350"/>
              <a:gd name="connsiteX18" fmla="*/ 119866 w 2095234"/>
              <a:gd name="connsiteY18" fmla="*/ 382371 h 2561350"/>
              <a:gd name="connsiteX19" fmla="*/ 837656 w 2095234"/>
              <a:gd name="connsiteY19" fmla="*/ 389002 h 2561350"/>
              <a:gd name="connsiteX20" fmla="*/ 802752 w 2095234"/>
              <a:gd name="connsiteY20" fmla="*/ 283670 h 2561350"/>
              <a:gd name="connsiteX21" fmla="*/ 1038495 w 2095234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01239 w 2076607"/>
              <a:gd name="connsiteY17" fmla="*/ 382371 h 2561350"/>
              <a:gd name="connsiteX18" fmla="*/ 819029 w 2076607"/>
              <a:gd name="connsiteY18" fmla="*/ 389002 h 2561350"/>
              <a:gd name="connsiteX19" fmla="*/ 784125 w 2076607"/>
              <a:gd name="connsiteY19" fmla="*/ 283670 h 2561350"/>
              <a:gd name="connsiteX20" fmla="*/ 1019868 w 2076607"/>
              <a:gd name="connsiteY20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36388 w 2076607"/>
              <a:gd name="connsiteY17" fmla="*/ 727479 h 2561350"/>
              <a:gd name="connsiteX18" fmla="*/ 101239 w 2076607"/>
              <a:gd name="connsiteY18" fmla="*/ 382371 h 2561350"/>
              <a:gd name="connsiteX19" fmla="*/ 819029 w 2076607"/>
              <a:gd name="connsiteY19" fmla="*/ 389002 h 2561350"/>
              <a:gd name="connsiteX20" fmla="*/ 784125 w 2076607"/>
              <a:gd name="connsiteY20" fmla="*/ 283670 h 2561350"/>
              <a:gd name="connsiteX21" fmla="*/ 1019868 w 2076607"/>
              <a:gd name="connsiteY21" fmla="*/ 3 h 2561350"/>
              <a:gd name="connsiteX0" fmla="*/ 1030195 w 2086934"/>
              <a:gd name="connsiteY0" fmla="*/ 3 h 2561350"/>
              <a:gd name="connsiteX1" fmla="*/ 1244508 w 2086934"/>
              <a:gd name="connsiteY1" fmla="*/ 286050 h 2561350"/>
              <a:gd name="connsiteX2" fmla="*/ 1222372 w 2086934"/>
              <a:gd name="connsiteY2" fmla="*/ 389002 h 2561350"/>
              <a:gd name="connsiteX3" fmla="*/ 1973660 w 2086934"/>
              <a:gd name="connsiteY3" fmla="*/ 369108 h 2561350"/>
              <a:gd name="connsiteX4" fmla="*/ 1967028 w 2086934"/>
              <a:gd name="connsiteY4" fmla="*/ 1096546 h 2561350"/>
              <a:gd name="connsiteX5" fmla="*/ 1864448 w 2086934"/>
              <a:gd name="connsiteY5" fmla="*/ 1037347 h 2561350"/>
              <a:gd name="connsiteX6" fmla="*/ 1848806 w 2086934"/>
              <a:gd name="connsiteY6" fmla="*/ 1520560 h 2561350"/>
              <a:gd name="connsiteX7" fmla="*/ 2000186 w 2086934"/>
              <a:gd name="connsiteY7" fmla="*/ 1456260 h 2561350"/>
              <a:gd name="connsiteX8" fmla="*/ 1953766 w 2086934"/>
              <a:gd name="connsiteY8" fmla="*/ 2180265 h 2561350"/>
              <a:gd name="connsiteX9" fmla="*/ 1224635 w 2086934"/>
              <a:gd name="connsiteY9" fmla="*/ 2167002 h 2561350"/>
              <a:gd name="connsiteX10" fmla="*/ 1244508 w 2086934"/>
              <a:gd name="connsiteY10" fmla="*/ 2275300 h 2561350"/>
              <a:gd name="connsiteX11" fmla="*/ 794452 w 2086934"/>
              <a:gd name="connsiteY11" fmla="*/ 2277680 h 2561350"/>
              <a:gd name="connsiteX12" fmla="*/ 824385 w 2086934"/>
              <a:gd name="connsiteY12" fmla="*/ 2167002 h 2561350"/>
              <a:gd name="connsiteX13" fmla="*/ 131460 w 2086934"/>
              <a:gd name="connsiteY13" fmla="*/ 2200159 h 2561350"/>
              <a:gd name="connsiteX14" fmla="*/ 111566 w 2086934"/>
              <a:gd name="connsiteY14" fmla="*/ 1497962 h 2561350"/>
              <a:gd name="connsiteX15" fmla="*/ 272879 w 2086934"/>
              <a:gd name="connsiteY15" fmla="*/ 1561668 h 2561350"/>
              <a:gd name="connsiteX16" fmla="*/ 250605 w 2086934"/>
              <a:gd name="connsiteY16" fmla="*/ 1045298 h 2561350"/>
              <a:gd name="connsiteX17" fmla="*/ 9943 w 2086934"/>
              <a:gd name="connsiteY17" fmla="*/ 1018431 h 2561350"/>
              <a:gd name="connsiteX18" fmla="*/ 111566 w 2086934"/>
              <a:gd name="connsiteY18" fmla="*/ 382371 h 2561350"/>
              <a:gd name="connsiteX19" fmla="*/ 829356 w 2086934"/>
              <a:gd name="connsiteY19" fmla="*/ 389002 h 2561350"/>
              <a:gd name="connsiteX20" fmla="*/ 794452 w 2086934"/>
              <a:gd name="connsiteY20" fmla="*/ 283670 h 2561350"/>
              <a:gd name="connsiteX21" fmla="*/ 1030195 w 2086934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270566 w 2084621"/>
              <a:gd name="connsiteY14" fmla="*/ 1561668 h 2561350"/>
              <a:gd name="connsiteX15" fmla="*/ 248292 w 2084621"/>
              <a:gd name="connsiteY15" fmla="*/ 1045298 h 2561350"/>
              <a:gd name="connsiteX16" fmla="*/ 7630 w 2084621"/>
              <a:gd name="connsiteY16" fmla="*/ 1018431 h 2561350"/>
              <a:gd name="connsiteX17" fmla="*/ 109253 w 2084621"/>
              <a:gd name="connsiteY17" fmla="*/ 382371 h 2561350"/>
              <a:gd name="connsiteX18" fmla="*/ 827043 w 2084621"/>
              <a:gd name="connsiteY18" fmla="*/ 389002 h 2561350"/>
              <a:gd name="connsiteX19" fmla="*/ 792139 w 2084621"/>
              <a:gd name="connsiteY19" fmla="*/ 283670 h 2561350"/>
              <a:gd name="connsiteX20" fmla="*/ 1027882 w 2084621"/>
              <a:gd name="connsiteY20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76730 w 2084621"/>
              <a:gd name="connsiteY14" fmla="*/ 1866419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33820 w 2090559"/>
              <a:gd name="connsiteY0" fmla="*/ 3 h 2561350"/>
              <a:gd name="connsiteX1" fmla="*/ 1248133 w 2090559"/>
              <a:gd name="connsiteY1" fmla="*/ 286050 h 2561350"/>
              <a:gd name="connsiteX2" fmla="*/ 1225997 w 2090559"/>
              <a:gd name="connsiteY2" fmla="*/ 389002 h 2561350"/>
              <a:gd name="connsiteX3" fmla="*/ 1977285 w 2090559"/>
              <a:gd name="connsiteY3" fmla="*/ 369108 h 2561350"/>
              <a:gd name="connsiteX4" fmla="*/ 1970653 w 2090559"/>
              <a:gd name="connsiteY4" fmla="*/ 1096546 h 2561350"/>
              <a:gd name="connsiteX5" fmla="*/ 1868073 w 2090559"/>
              <a:gd name="connsiteY5" fmla="*/ 1037347 h 2561350"/>
              <a:gd name="connsiteX6" fmla="*/ 1852431 w 2090559"/>
              <a:gd name="connsiteY6" fmla="*/ 1520560 h 2561350"/>
              <a:gd name="connsiteX7" fmla="*/ 2003811 w 2090559"/>
              <a:gd name="connsiteY7" fmla="*/ 1456260 h 2561350"/>
              <a:gd name="connsiteX8" fmla="*/ 1957391 w 2090559"/>
              <a:gd name="connsiteY8" fmla="*/ 2180265 h 2561350"/>
              <a:gd name="connsiteX9" fmla="*/ 1228260 w 2090559"/>
              <a:gd name="connsiteY9" fmla="*/ 2167002 h 2561350"/>
              <a:gd name="connsiteX10" fmla="*/ 1248133 w 2090559"/>
              <a:gd name="connsiteY10" fmla="*/ 2275300 h 2561350"/>
              <a:gd name="connsiteX11" fmla="*/ 798077 w 2090559"/>
              <a:gd name="connsiteY11" fmla="*/ 2277680 h 2561350"/>
              <a:gd name="connsiteX12" fmla="*/ 828010 w 2090559"/>
              <a:gd name="connsiteY12" fmla="*/ 2167002 h 2561350"/>
              <a:gd name="connsiteX13" fmla="*/ 135085 w 2090559"/>
              <a:gd name="connsiteY13" fmla="*/ 2200159 h 2561350"/>
              <a:gd name="connsiteX14" fmla="*/ 6108 w 2090559"/>
              <a:gd name="connsiteY14" fmla="*/ 1657531 h 2561350"/>
              <a:gd name="connsiteX15" fmla="*/ 276504 w 2090559"/>
              <a:gd name="connsiteY15" fmla="*/ 1561668 h 2561350"/>
              <a:gd name="connsiteX16" fmla="*/ 254230 w 2090559"/>
              <a:gd name="connsiteY16" fmla="*/ 1045298 h 2561350"/>
              <a:gd name="connsiteX17" fmla="*/ 13568 w 2090559"/>
              <a:gd name="connsiteY17" fmla="*/ 1018431 h 2561350"/>
              <a:gd name="connsiteX18" fmla="*/ 115191 w 2090559"/>
              <a:gd name="connsiteY18" fmla="*/ 382371 h 2561350"/>
              <a:gd name="connsiteX19" fmla="*/ 832981 w 2090559"/>
              <a:gd name="connsiteY19" fmla="*/ 389002 h 2561350"/>
              <a:gd name="connsiteX20" fmla="*/ 798077 w 2090559"/>
              <a:gd name="connsiteY20" fmla="*/ 283670 h 2561350"/>
              <a:gd name="connsiteX21" fmla="*/ 1033820 w 2090559"/>
              <a:gd name="connsiteY21" fmla="*/ 3 h 2561350"/>
              <a:gd name="connsiteX0" fmla="*/ 1032856 w 2089595"/>
              <a:gd name="connsiteY0" fmla="*/ 3 h 2561350"/>
              <a:gd name="connsiteX1" fmla="*/ 1247169 w 2089595"/>
              <a:gd name="connsiteY1" fmla="*/ 286050 h 2561350"/>
              <a:gd name="connsiteX2" fmla="*/ 1225033 w 2089595"/>
              <a:gd name="connsiteY2" fmla="*/ 389002 h 2561350"/>
              <a:gd name="connsiteX3" fmla="*/ 1976321 w 2089595"/>
              <a:gd name="connsiteY3" fmla="*/ 369108 h 2561350"/>
              <a:gd name="connsiteX4" fmla="*/ 1969689 w 2089595"/>
              <a:gd name="connsiteY4" fmla="*/ 1096546 h 2561350"/>
              <a:gd name="connsiteX5" fmla="*/ 1867109 w 2089595"/>
              <a:gd name="connsiteY5" fmla="*/ 1037347 h 2561350"/>
              <a:gd name="connsiteX6" fmla="*/ 1851467 w 2089595"/>
              <a:gd name="connsiteY6" fmla="*/ 1520560 h 2561350"/>
              <a:gd name="connsiteX7" fmla="*/ 2002847 w 2089595"/>
              <a:gd name="connsiteY7" fmla="*/ 1456260 h 2561350"/>
              <a:gd name="connsiteX8" fmla="*/ 1956427 w 2089595"/>
              <a:gd name="connsiteY8" fmla="*/ 2180265 h 2561350"/>
              <a:gd name="connsiteX9" fmla="*/ 1227296 w 2089595"/>
              <a:gd name="connsiteY9" fmla="*/ 2167002 h 2561350"/>
              <a:gd name="connsiteX10" fmla="*/ 1247169 w 2089595"/>
              <a:gd name="connsiteY10" fmla="*/ 2275300 h 2561350"/>
              <a:gd name="connsiteX11" fmla="*/ 797113 w 2089595"/>
              <a:gd name="connsiteY11" fmla="*/ 2277680 h 2561350"/>
              <a:gd name="connsiteX12" fmla="*/ 827046 w 2089595"/>
              <a:gd name="connsiteY12" fmla="*/ 2167002 h 2561350"/>
              <a:gd name="connsiteX13" fmla="*/ 134121 w 2089595"/>
              <a:gd name="connsiteY13" fmla="*/ 2200159 h 2561350"/>
              <a:gd name="connsiteX14" fmla="*/ 5144 w 2089595"/>
              <a:gd name="connsiteY14" fmla="*/ 1657531 h 2561350"/>
              <a:gd name="connsiteX15" fmla="*/ 275540 w 2089595"/>
              <a:gd name="connsiteY15" fmla="*/ 1561668 h 2561350"/>
              <a:gd name="connsiteX16" fmla="*/ 253266 w 2089595"/>
              <a:gd name="connsiteY16" fmla="*/ 1045298 h 2561350"/>
              <a:gd name="connsiteX17" fmla="*/ 12604 w 2089595"/>
              <a:gd name="connsiteY17" fmla="*/ 1018431 h 2561350"/>
              <a:gd name="connsiteX18" fmla="*/ 114227 w 2089595"/>
              <a:gd name="connsiteY18" fmla="*/ 382371 h 2561350"/>
              <a:gd name="connsiteX19" fmla="*/ 832017 w 2089595"/>
              <a:gd name="connsiteY19" fmla="*/ 389002 h 2561350"/>
              <a:gd name="connsiteX20" fmla="*/ 797113 w 2089595"/>
              <a:gd name="connsiteY20" fmla="*/ 283670 h 2561350"/>
              <a:gd name="connsiteX21" fmla="*/ 1032856 w 2089595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863015 w 2081039"/>
              <a:gd name="connsiteY4" fmla="*/ 1037347 h 2561350"/>
              <a:gd name="connsiteX5" fmla="*/ 1847373 w 2081039"/>
              <a:gd name="connsiteY5" fmla="*/ 1520560 h 2561350"/>
              <a:gd name="connsiteX6" fmla="*/ 1998753 w 2081039"/>
              <a:gd name="connsiteY6" fmla="*/ 1456260 h 2561350"/>
              <a:gd name="connsiteX7" fmla="*/ 1952333 w 2081039"/>
              <a:gd name="connsiteY7" fmla="*/ 2180265 h 2561350"/>
              <a:gd name="connsiteX8" fmla="*/ 1223202 w 2081039"/>
              <a:gd name="connsiteY8" fmla="*/ 2167002 h 2561350"/>
              <a:gd name="connsiteX9" fmla="*/ 1243075 w 2081039"/>
              <a:gd name="connsiteY9" fmla="*/ 2275300 h 2561350"/>
              <a:gd name="connsiteX10" fmla="*/ 793019 w 2081039"/>
              <a:gd name="connsiteY10" fmla="*/ 2277680 h 2561350"/>
              <a:gd name="connsiteX11" fmla="*/ 822952 w 2081039"/>
              <a:gd name="connsiteY11" fmla="*/ 2167002 h 2561350"/>
              <a:gd name="connsiteX12" fmla="*/ 130027 w 2081039"/>
              <a:gd name="connsiteY12" fmla="*/ 2200159 h 2561350"/>
              <a:gd name="connsiteX13" fmla="*/ 1050 w 2081039"/>
              <a:gd name="connsiteY13" fmla="*/ 1657531 h 2561350"/>
              <a:gd name="connsiteX14" fmla="*/ 271446 w 2081039"/>
              <a:gd name="connsiteY14" fmla="*/ 1561668 h 2561350"/>
              <a:gd name="connsiteX15" fmla="*/ 249172 w 2081039"/>
              <a:gd name="connsiteY15" fmla="*/ 1045298 h 2561350"/>
              <a:gd name="connsiteX16" fmla="*/ 8510 w 2081039"/>
              <a:gd name="connsiteY16" fmla="*/ 1018431 h 2561350"/>
              <a:gd name="connsiteX17" fmla="*/ 110133 w 2081039"/>
              <a:gd name="connsiteY17" fmla="*/ 382371 h 2561350"/>
              <a:gd name="connsiteX18" fmla="*/ 827923 w 2081039"/>
              <a:gd name="connsiteY18" fmla="*/ 389002 h 2561350"/>
              <a:gd name="connsiteX19" fmla="*/ 793019 w 2081039"/>
              <a:gd name="connsiteY19" fmla="*/ 283670 h 2561350"/>
              <a:gd name="connsiteX20" fmla="*/ 1028762 w 2081039"/>
              <a:gd name="connsiteY20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933270 w 2081039"/>
              <a:gd name="connsiteY4" fmla="*/ 764780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890996 w 2072429"/>
              <a:gd name="connsiteY7" fmla="*/ 1722186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47373 w 2072429"/>
              <a:gd name="connsiteY5" fmla="*/ 1535481 h 2561350"/>
              <a:gd name="connsiteX6" fmla="*/ 2065070 w 2072429"/>
              <a:gd name="connsiteY6" fmla="*/ 1597847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997927 w 2072429"/>
              <a:gd name="connsiteY5" fmla="*/ 118007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58483 w 2069564"/>
              <a:gd name="connsiteY15" fmla="*/ 1557347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58483 w 2069564"/>
              <a:gd name="connsiteY15" fmla="*/ 1557347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362 w 2069164"/>
              <a:gd name="connsiteY0" fmla="*/ 3 h 2561350"/>
              <a:gd name="connsiteX1" fmla="*/ 1242675 w 2069164"/>
              <a:gd name="connsiteY1" fmla="*/ 286050 h 2561350"/>
              <a:gd name="connsiteX2" fmla="*/ 1220539 w 2069164"/>
              <a:gd name="connsiteY2" fmla="*/ 389002 h 2561350"/>
              <a:gd name="connsiteX3" fmla="*/ 1959393 w 2069164"/>
              <a:gd name="connsiteY3" fmla="*/ 361648 h 2561350"/>
              <a:gd name="connsiteX4" fmla="*/ 2067156 w 2069164"/>
              <a:gd name="connsiteY4" fmla="*/ 961234 h 2561350"/>
              <a:gd name="connsiteX5" fmla="*/ 1880648 w 2069164"/>
              <a:gd name="connsiteY5" fmla="*/ 1030865 h 2561350"/>
              <a:gd name="connsiteX6" fmla="*/ 1846973 w 2069164"/>
              <a:gd name="connsiteY6" fmla="*/ 1535481 h 2561350"/>
              <a:gd name="connsiteX7" fmla="*/ 2064670 w 2069164"/>
              <a:gd name="connsiteY7" fmla="*/ 1597847 h 2561350"/>
              <a:gd name="connsiteX8" fmla="*/ 1951933 w 2069164"/>
              <a:gd name="connsiteY8" fmla="*/ 2180265 h 2561350"/>
              <a:gd name="connsiteX9" fmla="*/ 1222802 w 2069164"/>
              <a:gd name="connsiteY9" fmla="*/ 2167002 h 2561350"/>
              <a:gd name="connsiteX10" fmla="*/ 1242675 w 2069164"/>
              <a:gd name="connsiteY10" fmla="*/ 2275300 h 2561350"/>
              <a:gd name="connsiteX11" fmla="*/ 792619 w 2069164"/>
              <a:gd name="connsiteY11" fmla="*/ 2277680 h 2561350"/>
              <a:gd name="connsiteX12" fmla="*/ 822552 w 2069164"/>
              <a:gd name="connsiteY12" fmla="*/ 2167002 h 2561350"/>
              <a:gd name="connsiteX13" fmla="*/ 129627 w 2069164"/>
              <a:gd name="connsiteY13" fmla="*/ 2200159 h 2561350"/>
              <a:gd name="connsiteX14" fmla="*/ 650 w 2069164"/>
              <a:gd name="connsiteY14" fmla="*/ 1657531 h 2561350"/>
              <a:gd name="connsiteX15" fmla="*/ 258083 w 2069164"/>
              <a:gd name="connsiteY15" fmla="*/ 1557347 h 2561350"/>
              <a:gd name="connsiteX16" fmla="*/ 270377 w 2069164"/>
              <a:gd name="connsiteY16" fmla="*/ 1028015 h 2561350"/>
              <a:gd name="connsiteX17" fmla="*/ 29715 w 2069164"/>
              <a:gd name="connsiteY17" fmla="*/ 1005469 h 2561350"/>
              <a:gd name="connsiteX18" fmla="*/ 109733 w 2069164"/>
              <a:gd name="connsiteY18" fmla="*/ 382371 h 2561350"/>
              <a:gd name="connsiteX19" fmla="*/ 827523 w 2069164"/>
              <a:gd name="connsiteY19" fmla="*/ 389002 h 2561350"/>
              <a:gd name="connsiteX20" fmla="*/ 792619 w 2069164"/>
              <a:gd name="connsiteY20" fmla="*/ 283670 h 2561350"/>
              <a:gd name="connsiteX21" fmla="*/ 1028362 w 206916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69727 w 2068514"/>
              <a:gd name="connsiteY16" fmla="*/ 1028015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69727 w 2068514"/>
              <a:gd name="connsiteY16" fmla="*/ 1028015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64020 w 2066875"/>
              <a:gd name="connsiteY7" fmla="*/ 1597847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952"/>
              <a:gd name="connsiteY0" fmla="*/ 3 h 2561350"/>
              <a:gd name="connsiteX1" fmla="*/ 1242025 w 2066952"/>
              <a:gd name="connsiteY1" fmla="*/ 286050 h 2561350"/>
              <a:gd name="connsiteX2" fmla="*/ 1219889 w 2066952"/>
              <a:gd name="connsiteY2" fmla="*/ 389002 h 2561350"/>
              <a:gd name="connsiteX3" fmla="*/ 1963063 w 2066952"/>
              <a:gd name="connsiteY3" fmla="*/ 357327 h 2561350"/>
              <a:gd name="connsiteX4" fmla="*/ 2066506 w 2066952"/>
              <a:gd name="connsiteY4" fmla="*/ 961234 h 2561350"/>
              <a:gd name="connsiteX5" fmla="*/ 1862717 w 2066952"/>
              <a:gd name="connsiteY5" fmla="*/ 1056790 h 2561350"/>
              <a:gd name="connsiteX6" fmla="*/ 1824721 w 2066952"/>
              <a:gd name="connsiteY6" fmla="*/ 1531159 h 2561350"/>
              <a:gd name="connsiteX7" fmla="*/ 2042416 w 2066952"/>
              <a:gd name="connsiteY7" fmla="*/ 1619452 h 2561350"/>
              <a:gd name="connsiteX8" fmla="*/ 1951283 w 2066952"/>
              <a:gd name="connsiteY8" fmla="*/ 2180265 h 2561350"/>
              <a:gd name="connsiteX9" fmla="*/ 1222152 w 2066952"/>
              <a:gd name="connsiteY9" fmla="*/ 2167002 h 2561350"/>
              <a:gd name="connsiteX10" fmla="*/ 1242025 w 2066952"/>
              <a:gd name="connsiteY10" fmla="*/ 2275300 h 2561350"/>
              <a:gd name="connsiteX11" fmla="*/ 791969 w 2066952"/>
              <a:gd name="connsiteY11" fmla="*/ 2277680 h 2561350"/>
              <a:gd name="connsiteX12" fmla="*/ 821902 w 2066952"/>
              <a:gd name="connsiteY12" fmla="*/ 2167002 h 2561350"/>
              <a:gd name="connsiteX13" fmla="*/ 128977 w 2066952"/>
              <a:gd name="connsiteY13" fmla="*/ 2200159 h 2561350"/>
              <a:gd name="connsiteX14" fmla="*/ 0 w 2066952"/>
              <a:gd name="connsiteY14" fmla="*/ 1657531 h 2561350"/>
              <a:gd name="connsiteX15" fmla="*/ 257433 w 2066952"/>
              <a:gd name="connsiteY15" fmla="*/ 1557347 h 2561350"/>
              <a:gd name="connsiteX16" fmla="*/ 239483 w 2066952"/>
              <a:gd name="connsiteY16" fmla="*/ 1049619 h 2561350"/>
              <a:gd name="connsiteX17" fmla="*/ 29065 w 2066952"/>
              <a:gd name="connsiteY17" fmla="*/ 1005469 h 2561350"/>
              <a:gd name="connsiteX18" fmla="*/ 100444 w 2066952"/>
              <a:gd name="connsiteY18" fmla="*/ 369408 h 2561350"/>
              <a:gd name="connsiteX19" fmla="*/ 826873 w 2066952"/>
              <a:gd name="connsiteY19" fmla="*/ 389002 h 2561350"/>
              <a:gd name="connsiteX20" fmla="*/ 791969 w 2066952"/>
              <a:gd name="connsiteY20" fmla="*/ 283670 h 2561350"/>
              <a:gd name="connsiteX21" fmla="*/ 1027712 w 2066952"/>
              <a:gd name="connsiteY21" fmla="*/ 3 h 2561350"/>
              <a:gd name="connsiteX0" fmla="*/ 1027712 w 2067063"/>
              <a:gd name="connsiteY0" fmla="*/ 3 h 2561350"/>
              <a:gd name="connsiteX1" fmla="*/ 1242025 w 2067063"/>
              <a:gd name="connsiteY1" fmla="*/ 286050 h 2561350"/>
              <a:gd name="connsiteX2" fmla="*/ 1219889 w 2067063"/>
              <a:gd name="connsiteY2" fmla="*/ 389002 h 2561350"/>
              <a:gd name="connsiteX3" fmla="*/ 1967384 w 2067063"/>
              <a:gd name="connsiteY3" fmla="*/ 344364 h 2561350"/>
              <a:gd name="connsiteX4" fmla="*/ 2066506 w 2067063"/>
              <a:gd name="connsiteY4" fmla="*/ 961234 h 2561350"/>
              <a:gd name="connsiteX5" fmla="*/ 1862717 w 2067063"/>
              <a:gd name="connsiteY5" fmla="*/ 1056790 h 2561350"/>
              <a:gd name="connsiteX6" fmla="*/ 1824721 w 2067063"/>
              <a:gd name="connsiteY6" fmla="*/ 1531159 h 2561350"/>
              <a:gd name="connsiteX7" fmla="*/ 2042416 w 2067063"/>
              <a:gd name="connsiteY7" fmla="*/ 1619452 h 2561350"/>
              <a:gd name="connsiteX8" fmla="*/ 1951283 w 2067063"/>
              <a:gd name="connsiteY8" fmla="*/ 2180265 h 2561350"/>
              <a:gd name="connsiteX9" fmla="*/ 1222152 w 2067063"/>
              <a:gd name="connsiteY9" fmla="*/ 2167002 h 2561350"/>
              <a:gd name="connsiteX10" fmla="*/ 1242025 w 2067063"/>
              <a:gd name="connsiteY10" fmla="*/ 2275300 h 2561350"/>
              <a:gd name="connsiteX11" fmla="*/ 791969 w 2067063"/>
              <a:gd name="connsiteY11" fmla="*/ 2277680 h 2561350"/>
              <a:gd name="connsiteX12" fmla="*/ 821902 w 2067063"/>
              <a:gd name="connsiteY12" fmla="*/ 2167002 h 2561350"/>
              <a:gd name="connsiteX13" fmla="*/ 128977 w 2067063"/>
              <a:gd name="connsiteY13" fmla="*/ 2200159 h 2561350"/>
              <a:gd name="connsiteX14" fmla="*/ 0 w 2067063"/>
              <a:gd name="connsiteY14" fmla="*/ 1657531 h 2561350"/>
              <a:gd name="connsiteX15" fmla="*/ 257433 w 2067063"/>
              <a:gd name="connsiteY15" fmla="*/ 1557347 h 2561350"/>
              <a:gd name="connsiteX16" fmla="*/ 239483 w 2067063"/>
              <a:gd name="connsiteY16" fmla="*/ 1049619 h 2561350"/>
              <a:gd name="connsiteX17" fmla="*/ 29065 w 2067063"/>
              <a:gd name="connsiteY17" fmla="*/ 1005469 h 2561350"/>
              <a:gd name="connsiteX18" fmla="*/ 100444 w 2067063"/>
              <a:gd name="connsiteY18" fmla="*/ 369408 h 2561350"/>
              <a:gd name="connsiteX19" fmla="*/ 826873 w 2067063"/>
              <a:gd name="connsiteY19" fmla="*/ 389002 h 2561350"/>
              <a:gd name="connsiteX20" fmla="*/ 791969 w 2067063"/>
              <a:gd name="connsiteY20" fmla="*/ 283670 h 2561350"/>
              <a:gd name="connsiteX21" fmla="*/ 1027712 w 2067063"/>
              <a:gd name="connsiteY21" fmla="*/ 3 h 2561350"/>
              <a:gd name="connsiteX0" fmla="*/ 1027712 w 2067063"/>
              <a:gd name="connsiteY0" fmla="*/ 3 h 2561350"/>
              <a:gd name="connsiteX1" fmla="*/ 1242025 w 2067063"/>
              <a:gd name="connsiteY1" fmla="*/ 286050 h 2561350"/>
              <a:gd name="connsiteX2" fmla="*/ 1219889 w 2067063"/>
              <a:gd name="connsiteY2" fmla="*/ 389002 h 2561350"/>
              <a:gd name="connsiteX3" fmla="*/ 1967384 w 2067063"/>
              <a:gd name="connsiteY3" fmla="*/ 344364 h 2561350"/>
              <a:gd name="connsiteX4" fmla="*/ 2066506 w 2067063"/>
              <a:gd name="connsiteY4" fmla="*/ 961234 h 2561350"/>
              <a:gd name="connsiteX5" fmla="*/ 1862717 w 2067063"/>
              <a:gd name="connsiteY5" fmla="*/ 1056790 h 2561350"/>
              <a:gd name="connsiteX6" fmla="*/ 1824721 w 2067063"/>
              <a:gd name="connsiteY6" fmla="*/ 1531159 h 2561350"/>
              <a:gd name="connsiteX7" fmla="*/ 2042416 w 2067063"/>
              <a:gd name="connsiteY7" fmla="*/ 1619452 h 2561350"/>
              <a:gd name="connsiteX8" fmla="*/ 1951283 w 2067063"/>
              <a:gd name="connsiteY8" fmla="*/ 2180265 h 2561350"/>
              <a:gd name="connsiteX9" fmla="*/ 1222152 w 2067063"/>
              <a:gd name="connsiteY9" fmla="*/ 2167002 h 2561350"/>
              <a:gd name="connsiteX10" fmla="*/ 1242025 w 2067063"/>
              <a:gd name="connsiteY10" fmla="*/ 2275300 h 2561350"/>
              <a:gd name="connsiteX11" fmla="*/ 791969 w 2067063"/>
              <a:gd name="connsiteY11" fmla="*/ 2277680 h 2561350"/>
              <a:gd name="connsiteX12" fmla="*/ 821902 w 2067063"/>
              <a:gd name="connsiteY12" fmla="*/ 2167002 h 2561350"/>
              <a:gd name="connsiteX13" fmla="*/ 128977 w 2067063"/>
              <a:gd name="connsiteY13" fmla="*/ 2200159 h 2561350"/>
              <a:gd name="connsiteX14" fmla="*/ 0 w 2067063"/>
              <a:gd name="connsiteY14" fmla="*/ 1657531 h 2561350"/>
              <a:gd name="connsiteX15" fmla="*/ 257433 w 2067063"/>
              <a:gd name="connsiteY15" fmla="*/ 1557347 h 2561350"/>
              <a:gd name="connsiteX16" fmla="*/ 239483 w 2067063"/>
              <a:gd name="connsiteY16" fmla="*/ 1049619 h 2561350"/>
              <a:gd name="connsiteX17" fmla="*/ 29065 w 2067063"/>
              <a:gd name="connsiteY17" fmla="*/ 1005469 h 2561350"/>
              <a:gd name="connsiteX18" fmla="*/ 100444 w 2067063"/>
              <a:gd name="connsiteY18" fmla="*/ 369408 h 2561350"/>
              <a:gd name="connsiteX19" fmla="*/ 826873 w 2067063"/>
              <a:gd name="connsiteY19" fmla="*/ 389002 h 2561350"/>
              <a:gd name="connsiteX20" fmla="*/ 791969 w 2067063"/>
              <a:gd name="connsiteY20" fmla="*/ 283670 h 2561350"/>
              <a:gd name="connsiteX21" fmla="*/ 1027712 w 2067063"/>
              <a:gd name="connsiteY21" fmla="*/ 3 h 2561350"/>
              <a:gd name="connsiteX0" fmla="*/ 1027712 w 2066650"/>
              <a:gd name="connsiteY0" fmla="*/ 3 h 2561350"/>
              <a:gd name="connsiteX1" fmla="*/ 1242025 w 2066650"/>
              <a:gd name="connsiteY1" fmla="*/ 286050 h 2561350"/>
              <a:gd name="connsiteX2" fmla="*/ 1219889 w 2066650"/>
              <a:gd name="connsiteY2" fmla="*/ 389002 h 2561350"/>
              <a:gd name="connsiteX3" fmla="*/ 1967384 w 2066650"/>
              <a:gd name="connsiteY3" fmla="*/ 344364 h 2561350"/>
              <a:gd name="connsiteX4" fmla="*/ 2066506 w 2066650"/>
              <a:gd name="connsiteY4" fmla="*/ 961234 h 2561350"/>
              <a:gd name="connsiteX5" fmla="*/ 1862717 w 2066650"/>
              <a:gd name="connsiteY5" fmla="*/ 1056790 h 2561350"/>
              <a:gd name="connsiteX6" fmla="*/ 1824721 w 2066650"/>
              <a:gd name="connsiteY6" fmla="*/ 1531159 h 2561350"/>
              <a:gd name="connsiteX7" fmla="*/ 2042416 w 2066650"/>
              <a:gd name="connsiteY7" fmla="*/ 1619452 h 2561350"/>
              <a:gd name="connsiteX8" fmla="*/ 1951283 w 2066650"/>
              <a:gd name="connsiteY8" fmla="*/ 2180265 h 2561350"/>
              <a:gd name="connsiteX9" fmla="*/ 1222152 w 2066650"/>
              <a:gd name="connsiteY9" fmla="*/ 2167002 h 2561350"/>
              <a:gd name="connsiteX10" fmla="*/ 1242025 w 2066650"/>
              <a:gd name="connsiteY10" fmla="*/ 2275300 h 2561350"/>
              <a:gd name="connsiteX11" fmla="*/ 791969 w 2066650"/>
              <a:gd name="connsiteY11" fmla="*/ 2277680 h 2561350"/>
              <a:gd name="connsiteX12" fmla="*/ 821902 w 2066650"/>
              <a:gd name="connsiteY12" fmla="*/ 2167002 h 2561350"/>
              <a:gd name="connsiteX13" fmla="*/ 128977 w 2066650"/>
              <a:gd name="connsiteY13" fmla="*/ 2200159 h 2561350"/>
              <a:gd name="connsiteX14" fmla="*/ 0 w 2066650"/>
              <a:gd name="connsiteY14" fmla="*/ 1657531 h 2561350"/>
              <a:gd name="connsiteX15" fmla="*/ 257433 w 2066650"/>
              <a:gd name="connsiteY15" fmla="*/ 1557347 h 2561350"/>
              <a:gd name="connsiteX16" fmla="*/ 239483 w 2066650"/>
              <a:gd name="connsiteY16" fmla="*/ 1049619 h 2561350"/>
              <a:gd name="connsiteX17" fmla="*/ 29065 w 2066650"/>
              <a:gd name="connsiteY17" fmla="*/ 1005469 h 2561350"/>
              <a:gd name="connsiteX18" fmla="*/ 100444 w 2066650"/>
              <a:gd name="connsiteY18" fmla="*/ 369408 h 2561350"/>
              <a:gd name="connsiteX19" fmla="*/ 826873 w 2066650"/>
              <a:gd name="connsiteY19" fmla="*/ 389002 h 2561350"/>
              <a:gd name="connsiteX20" fmla="*/ 791969 w 2066650"/>
              <a:gd name="connsiteY20" fmla="*/ 283670 h 2561350"/>
              <a:gd name="connsiteX21" fmla="*/ 1027712 w 2066650"/>
              <a:gd name="connsiteY21" fmla="*/ 3 h 2561350"/>
              <a:gd name="connsiteX0" fmla="*/ 1027712 w 2049409"/>
              <a:gd name="connsiteY0" fmla="*/ 3 h 2561350"/>
              <a:gd name="connsiteX1" fmla="*/ 1242025 w 2049409"/>
              <a:gd name="connsiteY1" fmla="*/ 286050 h 2561350"/>
              <a:gd name="connsiteX2" fmla="*/ 1219889 w 2049409"/>
              <a:gd name="connsiteY2" fmla="*/ 389002 h 2561350"/>
              <a:gd name="connsiteX3" fmla="*/ 1967384 w 2049409"/>
              <a:gd name="connsiteY3" fmla="*/ 344364 h 2561350"/>
              <a:gd name="connsiteX4" fmla="*/ 2049225 w 2049409"/>
              <a:gd name="connsiteY4" fmla="*/ 926667 h 2561350"/>
              <a:gd name="connsiteX5" fmla="*/ 1862717 w 2049409"/>
              <a:gd name="connsiteY5" fmla="*/ 1056790 h 2561350"/>
              <a:gd name="connsiteX6" fmla="*/ 1824721 w 2049409"/>
              <a:gd name="connsiteY6" fmla="*/ 1531159 h 2561350"/>
              <a:gd name="connsiteX7" fmla="*/ 2042416 w 2049409"/>
              <a:gd name="connsiteY7" fmla="*/ 1619452 h 2561350"/>
              <a:gd name="connsiteX8" fmla="*/ 1951283 w 2049409"/>
              <a:gd name="connsiteY8" fmla="*/ 2180265 h 2561350"/>
              <a:gd name="connsiteX9" fmla="*/ 1222152 w 2049409"/>
              <a:gd name="connsiteY9" fmla="*/ 2167002 h 2561350"/>
              <a:gd name="connsiteX10" fmla="*/ 1242025 w 2049409"/>
              <a:gd name="connsiteY10" fmla="*/ 2275300 h 2561350"/>
              <a:gd name="connsiteX11" fmla="*/ 791969 w 2049409"/>
              <a:gd name="connsiteY11" fmla="*/ 2277680 h 2561350"/>
              <a:gd name="connsiteX12" fmla="*/ 821902 w 2049409"/>
              <a:gd name="connsiteY12" fmla="*/ 2167002 h 2561350"/>
              <a:gd name="connsiteX13" fmla="*/ 128977 w 2049409"/>
              <a:gd name="connsiteY13" fmla="*/ 2200159 h 2561350"/>
              <a:gd name="connsiteX14" fmla="*/ 0 w 2049409"/>
              <a:gd name="connsiteY14" fmla="*/ 1657531 h 2561350"/>
              <a:gd name="connsiteX15" fmla="*/ 257433 w 2049409"/>
              <a:gd name="connsiteY15" fmla="*/ 1557347 h 2561350"/>
              <a:gd name="connsiteX16" fmla="*/ 239483 w 2049409"/>
              <a:gd name="connsiteY16" fmla="*/ 1049619 h 2561350"/>
              <a:gd name="connsiteX17" fmla="*/ 29065 w 2049409"/>
              <a:gd name="connsiteY17" fmla="*/ 1005469 h 2561350"/>
              <a:gd name="connsiteX18" fmla="*/ 100444 w 2049409"/>
              <a:gd name="connsiteY18" fmla="*/ 369408 h 2561350"/>
              <a:gd name="connsiteX19" fmla="*/ 826873 w 2049409"/>
              <a:gd name="connsiteY19" fmla="*/ 389002 h 2561350"/>
              <a:gd name="connsiteX20" fmla="*/ 791969 w 2049409"/>
              <a:gd name="connsiteY20" fmla="*/ 283670 h 2561350"/>
              <a:gd name="connsiteX21" fmla="*/ 1027712 w 2049409"/>
              <a:gd name="connsiteY21" fmla="*/ 3 h 2561350"/>
              <a:gd name="connsiteX0" fmla="*/ 1027712 w 2049338"/>
              <a:gd name="connsiteY0" fmla="*/ 3 h 2561350"/>
              <a:gd name="connsiteX1" fmla="*/ 1242025 w 2049338"/>
              <a:gd name="connsiteY1" fmla="*/ 286050 h 2561350"/>
              <a:gd name="connsiteX2" fmla="*/ 1219889 w 2049338"/>
              <a:gd name="connsiteY2" fmla="*/ 389002 h 2561350"/>
              <a:gd name="connsiteX3" fmla="*/ 1967384 w 2049338"/>
              <a:gd name="connsiteY3" fmla="*/ 344364 h 2561350"/>
              <a:gd name="connsiteX4" fmla="*/ 2049225 w 2049338"/>
              <a:gd name="connsiteY4" fmla="*/ 926667 h 2561350"/>
              <a:gd name="connsiteX5" fmla="*/ 1862717 w 2049338"/>
              <a:gd name="connsiteY5" fmla="*/ 1056790 h 2561350"/>
              <a:gd name="connsiteX6" fmla="*/ 1824721 w 2049338"/>
              <a:gd name="connsiteY6" fmla="*/ 1531159 h 2561350"/>
              <a:gd name="connsiteX7" fmla="*/ 2042416 w 2049338"/>
              <a:gd name="connsiteY7" fmla="*/ 1619452 h 2561350"/>
              <a:gd name="connsiteX8" fmla="*/ 1951283 w 2049338"/>
              <a:gd name="connsiteY8" fmla="*/ 2180265 h 2561350"/>
              <a:gd name="connsiteX9" fmla="*/ 1222152 w 2049338"/>
              <a:gd name="connsiteY9" fmla="*/ 2167002 h 2561350"/>
              <a:gd name="connsiteX10" fmla="*/ 1242025 w 2049338"/>
              <a:gd name="connsiteY10" fmla="*/ 2275300 h 2561350"/>
              <a:gd name="connsiteX11" fmla="*/ 791969 w 2049338"/>
              <a:gd name="connsiteY11" fmla="*/ 2277680 h 2561350"/>
              <a:gd name="connsiteX12" fmla="*/ 821902 w 2049338"/>
              <a:gd name="connsiteY12" fmla="*/ 2167002 h 2561350"/>
              <a:gd name="connsiteX13" fmla="*/ 128977 w 2049338"/>
              <a:gd name="connsiteY13" fmla="*/ 2200159 h 2561350"/>
              <a:gd name="connsiteX14" fmla="*/ 0 w 2049338"/>
              <a:gd name="connsiteY14" fmla="*/ 1657531 h 2561350"/>
              <a:gd name="connsiteX15" fmla="*/ 257433 w 2049338"/>
              <a:gd name="connsiteY15" fmla="*/ 1557347 h 2561350"/>
              <a:gd name="connsiteX16" fmla="*/ 239483 w 2049338"/>
              <a:gd name="connsiteY16" fmla="*/ 1049619 h 2561350"/>
              <a:gd name="connsiteX17" fmla="*/ 29065 w 2049338"/>
              <a:gd name="connsiteY17" fmla="*/ 1005469 h 2561350"/>
              <a:gd name="connsiteX18" fmla="*/ 100444 w 2049338"/>
              <a:gd name="connsiteY18" fmla="*/ 369408 h 2561350"/>
              <a:gd name="connsiteX19" fmla="*/ 826873 w 2049338"/>
              <a:gd name="connsiteY19" fmla="*/ 389002 h 2561350"/>
              <a:gd name="connsiteX20" fmla="*/ 791969 w 2049338"/>
              <a:gd name="connsiteY20" fmla="*/ 283670 h 2561350"/>
              <a:gd name="connsiteX21" fmla="*/ 1027712 w 2049338"/>
              <a:gd name="connsiteY21" fmla="*/ 3 h 2561350"/>
              <a:gd name="connsiteX0" fmla="*/ 1027712 w 2053522"/>
              <a:gd name="connsiteY0" fmla="*/ 3 h 2561350"/>
              <a:gd name="connsiteX1" fmla="*/ 1242025 w 2053522"/>
              <a:gd name="connsiteY1" fmla="*/ 286050 h 2561350"/>
              <a:gd name="connsiteX2" fmla="*/ 1219889 w 2053522"/>
              <a:gd name="connsiteY2" fmla="*/ 389002 h 2561350"/>
              <a:gd name="connsiteX3" fmla="*/ 1967384 w 2053522"/>
              <a:gd name="connsiteY3" fmla="*/ 344364 h 2561350"/>
              <a:gd name="connsiteX4" fmla="*/ 2049225 w 2053522"/>
              <a:gd name="connsiteY4" fmla="*/ 926667 h 2561350"/>
              <a:gd name="connsiteX5" fmla="*/ 1862717 w 2053522"/>
              <a:gd name="connsiteY5" fmla="*/ 1056790 h 2561350"/>
              <a:gd name="connsiteX6" fmla="*/ 1824721 w 2053522"/>
              <a:gd name="connsiteY6" fmla="*/ 1531159 h 2561350"/>
              <a:gd name="connsiteX7" fmla="*/ 2042416 w 2053522"/>
              <a:gd name="connsiteY7" fmla="*/ 1619452 h 2561350"/>
              <a:gd name="connsiteX8" fmla="*/ 1951283 w 2053522"/>
              <a:gd name="connsiteY8" fmla="*/ 2180265 h 2561350"/>
              <a:gd name="connsiteX9" fmla="*/ 1222152 w 2053522"/>
              <a:gd name="connsiteY9" fmla="*/ 2167002 h 2561350"/>
              <a:gd name="connsiteX10" fmla="*/ 1242025 w 2053522"/>
              <a:gd name="connsiteY10" fmla="*/ 2275300 h 2561350"/>
              <a:gd name="connsiteX11" fmla="*/ 791969 w 2053522"/>
              <a:gd name="connsiteY11" fmla="*/ 2277680 h 2561350"/>
              <a:gd name="connsiteX12" fmla="*/ 821902 w 2053522"/>
              <a:gd name="connsiteY12" fmla="*/ 2167002 h 2561350"/>
              <a:gd name="connsiteX13" fmla="*/ 128977 w 2053522"/>
              <a:gd name="connsiteY13" fmla="*/ 2200159 h 2561350"/>
              <a:gd name="connsiteX14" fmla="*/ 0 w 2053522"/>
              <a:gd name="connsiteY14" fmla="*/ 1657531 h 2561350"/>
              <a:gd name="connsiteX15" fmla="*/ 257433 w 2053522"/>
              <a:gd name="connsiteY15" fmla="*/ 1557347 h 2561350"/>
              <a:gd name="connsiteX16" fmla="*/ 239483 w 2053522"/>
              <a:gd name="connsiteY16" fmla="*/ 1049619 h 2561350"/>
              <a:gd name="connsiteX17" fmla="*/ 29065 w 2053522"/>
              <a:gd name="connsiteY17" fmla="*/ 1005469 h 2561350"/>
              <a:gd name="connsiteX18" fmla="*/ 100444 w 2053522"/>
              <a:gd name="connsiteY18" fmla="*/ 369408 h 2561350"/>
              <a:gd name="connsiteX19" fmla="*/ 826873 w 2053522"/>
              <a:gd name="connsiteY19" fmla="*/ 389002 h 2561350"/>
              <a:gd name="connsiteX20" fmla="*/ 791969 w 2053522"/>
              <a:gd name="connsiteY20" fmla="*/ 283670 h 2561350"/>
              <a:gd name="connsiteX21" fmla="*/ 1027712 w 2053522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6166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60129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40556" h="2561350">
                <a:moveTo>
                  <a:pt x="1014747" y="3"/>
                </a:moveTo>
                <a:cubicBezTo>
                  <a:pt x="1183816" y="-691"/>
                  <a:pt x="1351799" y="120921"/>
                  <a:pt x="1229060" y="286050"/>
                </a:cubicBezTo>
                <a:cubicBezTo>
                  <a:pt x="1212950" y="315682"/>
                  <a:pt x="1201168" y="348101"/>
                  <a:pt x="1206924" y="389002"/>
                </a:cubicBezTo>
                <a:cubicBezTo>
                  <a:pt x="1211992" y="528261"/>
                  <a:pt x="1716654" y="452477"/>
                  <a:pt x="1954419" y="344364"/>
                </a:cubicBezTo>
                <a:cubicBezTo>
                  <a:pt x="1970498" y="474789"/>
                  <a:pt x="2061145" y="783619"/>
                  <a:pt x="2036260" y="926667"/>
                </a:cubicBezTo>
                <a:cubicBezTo>
                  <a:pt x="2027166" y="1024060"/>
                  <a:pt x="1970476" y="1153289"/>
                  <a:pt x="1849752" y="1060129"/>
                </a:cubicBezTo>
                <a:cubicBezTo>
                  <a:pt x="1475468" y="853624"/>
                  <a:pt x="1487545" y="1649324"/>
                  <a:pt x="1811756" y="1531159"/>
                </a:cubicBezTo>
                <a:cubicBezTo>
                  <a:pt x="1923754" y="1469515"/>
                  <a:pt x="1987209" y="1400411"/>
                  <a:pt x="2036129" y="1616113"/>
                </a:cubicBezTo>
                <a:cubicBezTo>
                  <a:pt x="2051136" y="1730790"/>
                  <a:pt x="1956393" y="2051666"/>
                  <a:pt x="1938318" y="2180265"/>
                </a:cubicBezTo>
                <a:cubicBezTo>
                  <a:pt x="1741694" y="2153739"/>
                  <a:pt x="1359392" y="2007849"/>
                  <a:pt x="1209187" y="2167002"/>
                </a:cubicBezTo>
                <a:cubicBezTo>
                  <a:pt x="1195706" y="2193452"/>
                  <a:pt x="1198508" y="2230274"/>
                  <a:pt x="1229060" y="2275300"/>
                </a:cubicBezTo>
                <a:cubicBezTo>
                  <a:pt x="1469566" y="2660267"/>
                  <a:pt x="567071" y="2652331"/>
                  <a:pt x="779004" y="2277680"/>
                </a:cubicBezTo>
                <a:cubicBezTo>
                  <a:pt x="817979" y="2223379"/>
                  <a:pt x="825787" y="2190096"/>
                  <a:pt x="808937" y="2167002"/>
                </a:cubicBezTo>
                <a:cubicBezTo>
                  <a:pt x="706169" y="2021111"/>
                  <a:pt x="364670" y="2147108"/>
                  <a:pt x="116012" y="2200159"/>
                </a:cubicBezTo>
                <a:cubicBezTo>
                  <a:pt x="57942" y="2073996"/>
                  <a:pt x="976" y="1794778"/>
                  <a:pt x="0" y="1657530"/>
                </a:cubicBezTo>
                <a:cubicBezTo>
                  <a:pt x="23569" y="1399547"/>
                  <a:pt x="142648" y="1475748"/>
                  <a:pt x="248790" y="1539671"/>
                </a:cubicBezTo>
                <a:cubicBezTo>
                  <a:pt x="563771" y="1555589"/>
                  <a:pt x="485163" y="925406"/>
                  <a:pt x="226518" y="1049619"/>
                </a:cubicBezTo>
                <a:cubicBezTo>
                  <a:pt x="150003" y="1086365"/>
                  <a:pt x="56561" y="1164379"/>
                  <a:pt x="16100" y="1005469"/>
                </a:cubicBezTo>
                <a:cubicBezTo>
                  <a:pt x="-32993" y="864734"/>
                  <a:pt x="47286" y="478570"/>
                  <a:pt x="87479" y="369408"/>
                </a:cubicBezTo>
                <a:cubicBezTo>
                  <a:pt x="483685" y="502036"/>
                  <a:pt x="775797" y="488473"/>
                  <a:pt x="813908" y="389002"/>
                </a:cubicBezTo>
                <a:cubicBezTo>
                  <a:pt x="824229" y="365427"/>
                  <a:pt x="814657" y="333342"/>
                  <a:pt x="779004" y="283670"/>
                </a:cubicBezTo>
                <a:cubicBezTo>
                  <a:pt x="673038" y="96344"/>
                  <a:pt x="845678" y="698"/>
                  <a:pt x="1014747" y="3"/>
                </a:cubicBezTo>
                <a:close/>
              </a:path>
            </a:pathLst>
          </a:custGeom>
          <a:solidFill>
            <a:srgbClr val="A4A4A4"/>
          </a:solidFill>
          <a:ln w="9525">
            <a:noFill/>
          </a:ln>
          <a:scene3d>
            <a:camera prst="orthographicFront"/>
            <a:lightRig rig="threePt" dir="t"/>
          </a:scene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5"/>
          <p:cNvSpPr/>
          <p:nvPr/>
        </p:nvSpPr>
        <p:spPr>
          <a:xfrm rot="10800000">
            <a:off x="1637914" y="1306028"/>
            <a:ext cx="1288576" cy="1601266"/>
          </a:xfrm>
          <a:custGeom>
            <a:avLst/>
            <a:gdLst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872209 w 1795780"/>
              <a:gd name="connsiteY0" fmla="*/ 3 h 2561350"/>
              <a:gd name="connsiteX1" fmla="*/ 1086522 w 1795780"/>
              <a:gd name="connsiteY1" fmla="*/ 286050 h 2561350"/>
              <a:gd name="connsiteX2" fmla="*/ 1064386 w 1795780"/>
              <a:gd name="connsiteY2" fmla="*/ 389002 h 2561350"/>
              <a:gd name="connsiteX3" fmla="*/ 1795780 w 1795780"/>
              <a:gd name="connsiteY3" fmla="*/ 389002 h 2561350"/>
              <a:gd name="connsiteX4" fmla="*/ 1795780 w 1795780"/>
              <a:gd name="connsiteY4" fmla="*/ 1063389 h 2561350"/>
              <a:gd name="connsiteX5" fmla="*/ 1706462 w 1795780"/>
              <a:gd name="connsiteY5" fmla="*/ 1037347 h 2561350"/>
              <a:gd name="connsiteX6" fmla="*/ 1704082 w 1795780"/>
              <a:gd name="connsiteY6" fmla="*/ 1487403 h 2561350"/>
              <a:gd name="connsiteX7" fmla="*/ 1795780 w 1795780"/>
              <a:gd name="connsiteY7" fmla="*/ 1449629 h 2561350"/>
              <a:gd name="connsiteX8" fmla="*/ 1795780 w 1795780"/>
              <a:gd name="connsiteY8" fmla="*/ 2167002 h 2561350"/>
              <a:gd name="connsiteX9" fmla="*/ 1066649 w 1795780"/>
              <a:gd name="connsiteY9" fmla="*/ 2167002 h 2561350"/>
              <a:gd name="connsiteX10" fmla="*/ 1086522 w 1795780"/>
              <a:gd name="connsiteY10" fmla="*/ 2275300 h 2561350"/>
              <a:gd name="connsiteX11" fmla="*/ 636466 w 1795780"/>
              <a:gd name="connsiteY11" fmla="*/ 2277680 h 2561350"/>
              <a:gd name="connsiteX12" fmla="*/ 666399 w 1795780"/>
              <a:gd name="connsiteY12" fmla="*/ 2167002 h 2561350"/>
              <a:gd name="connsiteX13" fmla="*/ 0 w 1795780"/>
              <a:gd name="connsiteY13" fmla="*/ 2167002 h 2561350"/>
              <a:gd name="connsiteX14" fmla="*/ 0 w 1795780"/>
              <a:gd name="connsiteY14" fmla="*/ 1458174 h 2561350"/>
              <a:gd name="connsiteX15" fmla="*/ 94999 w 1795780"/>
              <a:gd name="connsiteY15" fmla="*/ 1495354 h 2561350"/>
              <a:gd name="connsiteX16" fmla="*/ 92619 w 1795780"/>
              <a:gd name="connsiteY16" fmla="*/ 1045298 h 2561350"/>
              <a:gd name="connsiteX17" fmla="*/ 0 w 1795780"/>
              <a:gd name="connsiteY17" fmla="*/ 1071146 h 2561350"/>
              <a:gd name="connsiteX18" fmla="*/ 0 w 1795780"/>
              <a:gd name="connsiteY18" fmla="*/ 389002 h 2561350"/>
              <a:gd name="connsiteX19" fmla="*/ 671370 w 1795780"/>
              <a:gd name="connsiteY19" fmla="*/ 389002 h 2561350"/>
              <a:gd name="connsiteX20" fmla="*/ 636466 w 1795780"/>
              <a:gd name="connsiteY20" fmla="*/ 283670 h 2561350"/>
              <a:gd name="connsiteX21" fmla="*/ 872209 w 179578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42200"/>
              <a:gd name="connsiteY0" fmla="*/ 3 h 2561350"/>
              <a:gd name="connsiteX1" fmla="*/ 1132942 w 1842200"/>
              <a:gd name="connsiteY1" fmla="*/ 286050 h 2561350"/>
              <a:gd name="connsiteX2" fmla="*/ 1110806 w 1842200"/>
              <a:gd name="connsiteY2" fmla="*/ 389002 h 2561350"/>
              <a:gd name="connsiteX3" fmla="*/ 1842200 w 1842200"/>
              <a:gd name="connsiteY3" fmla="*/ 389002 h 2561350"/>
              <a:gd name="connsiteX4" fmla="*/ 1842200 w 1842200"/>
              <a:gd name="connsiteY4" fmla="*/ 1063389 h 2561350"/>
              <a:gd name="connsiteX5" fmla="*/ 1752882 w 1842200"/>
              <a:gd name="connsiteY5" fmla="*/ 1037347 h 2561350"/>
              <a:gd name="connsiteX6" fmla="*/ 1750502 w 1842200"/>
              <a:gd name="connsiteY6" fmla="*/ 1487403 h 2561350"/>
              <a:gd name="connsiteX7" fmla="*/ 1842200 w 1842200"/>
              <a:gd name="connsiteY7" fmla="*/ 1449629 h 2561350"/>
              <a:gd name="connsiteX8" fmla="*/ 1842200 w 1842200"/>
              <a:gd name="connsiteY8" fmla="*/ 2167002 h 2561350"/>
              <a:gd name="connsiteX9" fmla="*/ 1113069 w 1842200"/>
              <a:gd name="connsiteY9" fmla="*/ 2167002 h 2561350"/>
              <a:gd name="connsiteX10" fmla="*/ 1132942 w 1842200"/>
              <a:gd name="connsiteY10" fmla="*/ 2275300 h 2561350"/>
              <a:gd name="connsiteX11" fmla="*/ 682886 w 1842200"/>
              <a:gd name="connsiteY11" fmla="*/ 2277680 h 2561350"/>
              <a:gd name="connsiteX12" fmla="*/ 712819 w 1842200"/>
              <a:gd name="connsiteY12" fmla="*/ 2167002 h 2561350"/>
              <a:gd name="connsiteX13" fmla="*/ 46420 w 1842200"/>
              <a:gd name="connsiteY13" fmla="*/ 2167002 h 2561350"/>
              <a:gd name="connsiteX14" fmla="*/ 46420 w 1842200"/>
              <a:gd name="connsiteY14" fmla="*/ 1458174 h 2561350"/>
              <a:gd name="connsiteX15" fmla="*/ 141419 w 1842200"/>
              <a:gd name="connsiteY15" fmla="*/ 1495354 h 2561350"/>
              <a:gd name="connsiteX16" fmla="*/ 139039 w 1842200"/>
              <a:gd name="connsiteY16" fmla="*/ 1045298 h 2561350"/>
              <a:gd name="connsiteX17" fmla="*/ 46420 w 1842200"/>
              <a:gd name="connsiteY17" fmla="*/ 1071146 h 2561350"/>
              <a:gd name="connsiteX18" fmla="*/ 0 w 1842200"/>
              <a:gd name="connsiteY18" fmla="*/ 382371 h 2561350"/>
              <a:gd name="connsiteX19" fmla="*/ 717790 w 1842200"/>
              <a:gd name="connsiteY19" fmla="*/ 389002 h 2561350"/>
              <a:gd name="connsiteX20" fmla="*/ 682886 w 1842200"/>
              <a:gd name="connsiteY20" fmla="*/ 283670 h 2561350"/>
              <a:gd name="connsiteX21" fmla="*/ 918629 w 1842200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862094"/>
              <a:gd name="connsiteY0" fmla="*/ 3 h 2561350"/>
              <a:gd name="connsiteX1" fmla="*/ 1132942 w 1862094"/>
              <a:gd name="connsiteY1" fmla="*/ 286050 h 2561350"/>
              <a:gd name="connsiteX2" fmla="*/ 1110806 w 1862094"/>
              <a:gd name="connsiteY2" fmla="*/ 389002 h 2561350"/>
              <a:gd name="connsiteX3" fmla="*/ 1862094 w 1862094"/>
              <a:gd name="connsiteY3" fmla="*/ 369108 h 2561350"/>
              <a:gd name="connsiteX4" fmla="*/ 1842200 w 1862094"/>
              <a:gd name="connsiteY4" fmla="*/ 1063389 h 2561350"/>
              <a:gd name="connsiteX5" fmla="*/ 1752882 w 1862094"/>
              <a:gd name="connsiteY5" fmla="*/ 1037347 h 2561350"/>
              <a:gd name="connsiteX6" fmla="*/ 1750502 w 1862094"/>
              <a:gd name="connsiteY6" fmla="*/ 1487403 h 2561350"/>
              <a:gd name="connsiteX7" fmla="*/ 1842200 w 1862094"/>
              <a:gd name="connsiteY7" fmla="*/ 1449629 h 2561350"/>
              <a:gd name="connsiteX8" fmla="*/ 1842200 w 1862094"/>
              <a:gd name="connsiteY8" fmla="*/ 2167002 h 2561350"/>
              <a:gd name="connsiteX9" fmla="*/ 1113069 w 1862094"/>
              <a:gd name="connsiteY9" fmla="*/ 2167002 h 2561350"/>
              <a:gd name="connsiteX10" fmla="*/ 1132942 w 1862094"/>
              <a:gd name="connsiteY10" fmla="*/ 2275300 h 2561350"/>
              <a:gd name="connsiteX11" fmla="*/ 682886 w 1862094"/>
              <a:gd name="connsiteY11" fmla="*/ 2277680 h 2561350"/>
              <a:gd name="connsiteX12" fmla="*/ 712819 w 1862094"/>
              <a:gd name="connsiteY12" fmla="*/ 2167002 h 2561350"/>
              <a:gd name="connsiteX13" fmla="*/ 46420 w 1862094"/>
              <a:gd name="connsiteY13" fmla="*/ 2167002 h 2561350"/>
              <a:gd name="connsiteX14" fmla="*/ 46420 w 1862094"/>
              <a:gd name="connsiteY14" fmla="*/ 1458174 h 2561350"/>
              <a:gd name="connsiteX15" fmla="*/ 141419 w 1862094"/>
              <a:gd name="connsiteY15" fmla="*/ 1495354 h 2561350"/>
              <a:gd name="connsiteX16" fmla="*/ 139039 w 1862094"/>
              <a:gd name="connsiteY16" fmla="*/ 1045298 h 2561350"/>
              <a:gd name="connsiteX17" fmla="*/ 46420 w 1862094"/>
              <a:gd name="connsiteY17" fmla="*/ 1071146 h 2561350"/>
              <a:gd name="connsiteX18" fmla="*/ 0 w 1862094"/>
              <a:gd name="connsiteY18" fmla="*/ 382371 h 2561350"/>
              <a:gd name="connsiteX19" fmla="*/ 717790 w 1862094"/>
              <a:gd name="connsiteY19" fmla="*/ 389002 h 2561350"/>
              <a:gd name="connsiteX20" fmla="*/ 682886 w 1862094"/>
              <a:gd name="connsiteY20" fmla="*/ 283670 h 2561350"/>
              <a:gd name="connsiteX21" fmla="*/ 918629 w 1862094"/>
              <a:gd name="connsiteY21" fmla="*/ 3 h 2561350"/>
              <a:gd name="connsiteX0" fmla="*/ 918629 w 1949187"/>
              <a:gd name="connsiteY0" fmla="*/ 3 h 2561350"/>
              <a:gd name="connsiteX1" fmla="*/ 1132942 w 1949187"/>
              <a:gd name="connsiteY1" fmla="*/ 286050 h 2561350"/>
              <a:gd name="connsiteX2" fmla="*/ 1110806 w 1949187"/>
              <a:gd name="connsiteY2" fmla="*/ 389002 h 2561350"/>
              <a:gd name="connsiteX3" fmla="*/ 1862094 w 1949187"/>
              <a:gd name="connsiteY3" fmla="*/ 369108 h 2561350"/>
              <a:gd name="connsiteX4" fmla="*/ 1842200 w 1949187"/>
              <a:gd name="connsiteY4" fmla="*/ 1063389 h 2561350"/>
              <a:gd name="connsiteX5" fmla="*/ 1752882 w 1949187"/>
              <a:gd name="connsiteY5" fmla="*/ 1037347 h 2561350"/>
              <a:gd name="connsiteX6" fmla="*/ 1750502 w 1949187"/>
              <a:gd name="connsiteY6" fmla="*/ 1487403 h 2561350"/>
              <a:gd name="connsiteX7" fmla="*/ 1842200 w 1949187"/>
              <a:gd name="connsiteY7" fmla="*/ 1449629 h 2561350"/>
              <a:gd name="connsiteX8" fmla="*/ 1842200 w 1949187"/>
              <a:gd name="connsiteY8" fmla="*/ 2167002 h 2561350"/>
              <a:gd name="connsiteX9" fmla="*/ 1113069 w 1949187"/>
              <a:gd name="connsiteY9" fmla="*/ 2167002 h 2561350"/>
              <a:gd name="connsiteX10" fmla="*/ 1132942 w 1949187"/>
              <a:gd name="connsiteY10" fmla="*/ 2275300 h 2561350"/>
              <a:gd name="connsiteX11" fmla="*/ 682886 w 1949187"/>
              <a:gd name="connsiteY11" fmla="*/ 2277680 h 2561350"/>
              <a:gd name="connsiteX12" fmla="*/ 712819 w 1949187"/>
              <a:gd name="connsiteY12" fmla="*/ 2167002 h 2561350"/>
              <a:gd name="connsiteX13" fmla="*/ 46420 w 1949187"/>
              <a:gd name="connsiteY13" fmla="*/ 2167002 h 2561350"/>
              <a:gd name="connsiteX14" fmla="*/ 46420 w 1949187"/>
              <a:gd name="connsiteY14" fmla="*/ 1458174 h 2561350"/>
              <a:gd name="connsiteX15" fmla="*/ 141419 w 1949187"/>
              <a:gd name="connsiteY15" fmla="*/ 1495354 h 2561350"/>
              <a:gd name="connsiteX16" fmla="*/ 139039 w 1949187"/>
              <a:gd name="connsiteY16" fmla="*/ 1045298 h 2561350"/>
              <a:gd name="connsiteX17" fmla="*/ 46420 w 1949187"/>
              <a:gd name="connsiteY17" fmla="*/ 1071146 h 2561350"/>
              <a:gd name="connsiteX18" fmla="*/ 0 w 1949187"/>
              <a:gd name="connsiteY18" fmla="*/ 382371 h 2561350"/>
              <a:gd name="connsiteX19" fmla="*/ 717790 w 1949187"/>
              <a:gd name="connsiteY19" fmla="*/ 389002 h 2561350"/>
              <a:gd name="connsiteX20" fmla="*/ 682886 w 1949187"/>
              <a:gd name="connsiteY20" fmla="*/ 283670 h 2561350"/>
              <a:gd name="connsiteX21" fmla="*/ 918629 w 1949187"/>
              <a:gd name="connsiteY21" fmla="*/ 3 h 2561350"/>
              <a:gd name="connsiteX0" fmla="*/ 918629 w 1966660"/>
              <a:gd name="connsiteY0" fmla="*/ 3 h 2561350"/>
              <a:gd name="connsiteX1" fmla="*/ 1132942 w 1966660"/>
              <a:gd name="connsiteY1" fmla="*/ 286050 h 2561350"/>
              <a:gd name="connsiteX2" fmla="*/ 1110806 w 1966660"/>
              <a:gd name="connsiteY2" fmla="*/ 389002 h 2561350"/>
              <a:gd name="connsiteX3" fmla="*/ 1862094 w 1966660"/>
              <a:gd name="connsiteY3" fmla="*/ 369108 h 2561350"/>
              <a:gd name="connsiteX4" fmla="*/ 1842200 w 1966660"/>
              <a:gd name="connsiteY4" fmla="*/ 1063389 h 2561350"/>
              <a:gd name="connsiteX5" fmla="*/ 1752882 w 1966660"/>
              <a:gd name="connsiteY5" fmla="*/ 1037347 h 2561350"/>
              <a:gd name="connsiteX6" fmla="*/ 1750502 w 1966660"/>
              <a:gd name="connsiteY6" fmla="*/ 1487403 h 2561350"/>
              <a:gd name="connsiteX7" fmla="*/ 1842200 w 1966660"/>
              <a:gd name="connsiteY7" fmla="*/ 1449629 h 2561350"/>
              <a:gd name="connsiteX8" fmla="*/ 1842200 w 1966660"/>
              <a:gd name="connsiteY8" fmla="*/ 2167002 h 2561350"/>
              <a:gd name="connsiteX9" fmla="*/ 1113069 w 1966660"/>
              <a:gd name="connsiteY9" fmla="*/ 2167002 h 2561350"/>
              <a:gd name="connsiteX10" fmla="*/ 1132942 w 1966660"/>
              <a:gd name="connsiteY10" fmla="*/ 2275300 h 2561350"/>
              <a:gd name="connsiteX11" fmla="*/ 682886 w 1966660"/>
              <a:gd name="connsiteY11" fmla="*/ 2277680 h 2561350"/>
              <a:gd name="connsiteX12" fmla="*/ 712819 w 1966660"/>
              <a:gd name="connsiteY12" fmla="*/ 2167002 h 2561350"/>
              <a:gd name="connsiteX13" fmla="*/ 46420 w 1966660"/>
              <a:gd name="connsiteY13" fmla="*/ 2167002 h 2561350"/>
              <a:gd name="connsiteX14" fmla="*/ 46420 w 1966660"/>
              <a:gd name="connsiteY14" fmla="*/ 1458174 h 2561350"/>
              <a:gd name="connsiteX15" fmla="*/ 141419 w 1966660"/>
              <a:gd name="connsiteY15" fmla="*/ 1495354 h 2561350"/>
              <a:gd name="connsiteX16" fmla="*/ 139039 w 1966660"/>
              <a:gd name="connsiteY16" fmla="*/ 1045298 h 2561350"/>
              <a:gd name="connsiteX17" fmla="*/ 46420 w 1966660"/>
              <a:gd name="connsiteY17" fmla="*/ 1071146 h 2561350"/>
              <a:gd name="connsiteX18" fmla="*/ 0 w 1966660"/>
              <a:gd name="connsiteY18" fmla="*/ 382371 h 2561350"/>
              <a:gd name="connsiteX19" fmla="*/ 717790 w 1966660"/>
              <a:gd name="connsiteY19" fmla="*/ 389002 h 2561350"/>
              <a:gd name="connsiteX20" fmla="*/ 682886 w 1966660"/>
              <a:gd name="connsiteY20" fmla="*/ 283670 h 2561350"/>
              <a:gd name="connsiteX21" fmla="*/ 918629 w 1966660"/>
              <a:gd name="connsiteY21" fmla="*/ 3 h 2561350"/>
              <a:gd name="connsiteX0" fmla="*/ 1023861 w 2071892"/>
              <a:gd name="connsiteY0" fmla="*/ 3 h 2561350"/>
              <a:gd name="connsiteX1" fmla="*/ 1238174 w 2071892"/>
              <a:gd name="connsiteY1" fmla="*/ 286050 h 2561350"/>
              <a:gd name="connsiteX2" fmla="*/ 1216038 w 2071892"/>
              <a:gd name="connsiteY2" fmla="*/ 389002 h 2561350"/>
              <a:gd name="connsiteX3" fmla="*/ 1967326 w 2071892"/>
              <a:gd name="connsiteY3" fmla="*/ 369108 h 2561350"/>
              <a:gd name="connsiteX4" fmla="*/ 1947432 w 2071892"/>
              <a:gd name="connsiteY4" fmla="*/ 1063389 h 2561350"/>
              <a:gd name="connsiteX5" fmla="*/ 1858114 w 2071892"/>
              <a:gd name="connsiteY5" fmla="*/ 1037347 h 2561350"/>
              <a:gd name="connsiteX6" fmla="*/ 1855734 w 2071892"/>
              <a:gd name="connsiteY6" fmla="*/ 1487403 h 2561350"/>
              <a:gd name="connsiteX7" fmla="*/ 1947432 w 2071892"/>
              <a:gd name="connsiteY7" fmla="*/ 1449629 h 2561350"/>
              <a:gd name="connsiteX8" fmla="*/ 1947432 w 2071892"/>
              <a:gd name="connsiteY8" fmla="*/ 2167002 h 2561350"/>
              <a:gd name="connsiteX9" fmla="*/ 1218301 w 2071892"/>
              <a:gd name="connsiteY9" fmla="*/ 2167002 h 2561350"/>
              <a:gd name="connsiteX10" fmla="*/ 1238174 w 2071892"/>
              <a:gd name="connsiteY10" fmla="*/ 2275300 h 2561350"/>
              <a:gd name="connsiteX11" fmla="*/ 788118 w 2071892"/>
              <a:gd name="connsiteY11" fmla="*/ 2277680 h 2561350"/>
              <a:gd name="connsiteX12" fmla="*/ 818051 w 2071892"/>
              <a:gd name="connsiteY12" fmla="*/ 2167002 h 2561350"/>
              <a:gd name="connsiteX13" fmla="*/ 151652 w 2071892"/>
              <a:gd name="connsiteY13" fmla="*/ 2167002 h 2561350"/>
              <a:gd name="connsiteX14" fmla="*/ 151652 w 2071892"/>
              <a:gd name="connsiteY14" fmla="*/ 1458174 h 2561350"/>
              <a:gd name="connsiteX15" fmla="*/ 246651 w 2071892"/>
              <a:gd name="connsiteY15" fmla="*/ 1495354 h 2561350"/>
              <a:gd name="connsiteX16" fmla="*/ 244271 w 2071892"/>
              <a:gd name="connsiteY16" fmla="*/ 1045298 h 2561350"/>
              <a:gd name="connsiteX17" fmla="*/ 151652 w 2071892"/>
              <a:gd name="connsiteY17" fmla="*/ 1071146 h 2561350"/>
              <a:gd name="connsiteX18" fmla="*/ 105232 w 2071892"/>
              <a:gd name="connsiteY18" fmla="*/ 382371 h 2561350"/>
              <a:gd name="connsiteX19" fmla="*/ 823022 w 2071892"/>
              <a:gd name="connsiteY19" fmla="*/ 389002 h 2561350"/>
              <a:gd name="connsiteX20" fmla="*/ 788118 w 2071892"/>
              <a:gd name="connsiteY20" fmla="*/ 283670 h 2561350"/>
              <a:gd name="connsiteX21" fmla="*/ 1023861 w 2071892"/>
              <a:gd name="connsiteY21" fmla="*/ 3 h 2561350"/>
              <a:gd name="connsiteX0" fmla="*/ 1039756 w 2087787"/>
              <a:gd name="connsiteY0" fmla="*/ 3 h 2561350"/>
              <a:gd name="connsiteX1" fmla="*/ 1254069 w 2087787"/>
              <a:gd name="connsiteY1" fmla="*/ 286050 h 2561350"/>
              <a:gd name="connsiteX2" fmla="*/ 1231933 w 2087787"/>
              <a:gd name="connsiteY2" fmla="*/ 389002 h 2561350"/>
              <a:gd name="connsiteX3" fmla="*/ 1983221 w 2087787"/>
              <a:gd name="connsiteY3" fmla="*/ 369108 h 2561350"/>
              <a:gd name="connsiteX4" fmla="*/ 1963327 w 2087787"/>
              <a:gd name="connsiteY4" fmla="*/ 1063389 h 2561350"/>
              <a:gd name="connsiteX5" fmla="*/ 1874009 w 2087787"/>
              <a:gd name="connsiteY5" fmla="*/ 1037347 h 2561350"/>
              <a:gd name="connsiteX6" fmla="*/ 1871629 w 2087787"/>
              <a:gd name="connsiteY6" fmla="*/ 1487403 h 2561350"/>
              <a:gd name="connsiteX7" fmla="*/ 1963327 w 2087787"/>
              <a:gd name="connsiteY7" fmla="*/ 1449629 h 2561350"/>
              <a:gd name="connsiteX8" fmla="*/ 1963327 w 2087787"/>
              <a:gd name="connsiteY8" fmla="*/ 2167002 h 2561350"/>
              <a:gd name="connsiteX9" fmla="*/ 1234196 w 2087787"/>
              <a:gd name="connsiteY9" fmla="*/ 2167002 h 2561350"/>
              <a:gd name="connsiteX10" fmla="*/ 1254069 w 2087787"/>
              <a:gd name="connsiteY10" fmla="*/ 2275300 h 2561350"/>
              <a:gd name="connsiteX11" fmla="*/ 804013 w 2087787"/>
              <a:gd name="connsiteY11" fmla="*/ 2277680 h 2561350"/>
              <a:gd name="connsiteX12" fmla="*/ 833946 w 2087787"/>
              <a:gd name="connsiteY12" fmla="*/ 2167002 h 2561350"/>
              <a:gd name="connsiteX13" fmla="*/ 167547 w 2087787"/>
              <a:gd name="connsiteY13" fmla="*/ 2167002 h 2561350"/>
              <a:gd name="connsiteX14" fmla="*/ 167547 w 2087787"/>
              <a:gd name="connsiteY14" fmla="*/ 1458174 h 2561350"/>
              <a:gd name="connsiteX15" fmla="*/ 262546 w 2087787"/>
              <a:gd name="connsiteY15" fmla="*/ 1495354 h 2561350"/>
              <a:gd name="connsiteX16" fmla="*/ 260166 w 2087787"/>
              <a:gd name="connsiteY16" fmla="*/ 1045298 h 2561350"/>
              <a:gd name="connsiteX17" fmla="*/ 167547 w 2087787"/>
              <a:gd name="connsiteY17" fmla="*/ 1071146 h 2561350"/>
              <a:gd name="connsiteX18" fmla="*/ 121127 w 2087787"/>
              <a:gd name="connsiteY18" fmla="*/ 382371 h 2561350"/>
              <a:gd name="connsiteX19" fmla="*/ 838917 w 2087787"/>
              <a:gd name="connsiteY19" fmla="*/ 389002 h 2561350"/>
              <a:gd name="connsiteX20" fmla="*/ 804013 w 2087787"/>
              <a:gd name="connsiteY20" fmla="*/ 283670 h 2561350"/>
              <a:gd name="connsiteX21" fmla="*/ 1039756 w 2087787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88885"/>
              <a:gd name="connsiteY0" fmla="*/ 3 h 2561350"/>
              <a:gd name="connsiteX1" fmla="*/ 1239747 w 2088885"/>
              <a:gd name="connsiteY1" fmla="*/ 286050 h 2561350"/>
              <a:gd name="connsiteX2" fmla="*/ 1217611 w 2088885"/>
              <a:gd name="connsiteY2" fmla="*/ 389002 h 2561350"/>
              <a:gd name="connsiteX3" fmla="*/ 1968899 w 2088885"/>
              <a:gd name="connsiteY3" fmla="*/ 369108 h 2561350"/>
              <a:gd name="connsiteX4" fmla="*/ 1949005 w 2088885"/>
              <a:gd name="connsiteY4" fmla="*/ 1063389 h 2561350"/>
              <a:gd name="connsiteX5" fmla="*/ 1859687 w 2088885"/>
              <a:gd name="connsiteY5" fmla="*/ 1037347 h 2561350"/>
              <a:gd name="connsiteX6" fmla="*/ 1857307 w 2088885"/>
              <a:gd name="connsiteY6" fmla="*/ 1487403 h 2561350"/>
              <a:gd name="connsiteX7" fmla="*/ 1949005 w 2088885"/>
              <a:gd name="connsiteY7" fmla="*/ 1449629 h 2561350"/>
              <a:gd name="connsiteX8" fmla="*/ 1949005 w 2088885"/>
              <a:gd name="connsiteY8" fmla="*/ 2167002 h 2561350"/>
              <a:gd name="connsiteX9" fmla="*/ 1219874 w 2088885"/>
              <a:gd name="connsiteY9" fmla="*/ 2167002 h 2561350"/>
              <a:gd name="connsiteX10" fmla="*/ 1239747 w 2088885"/>
              <a:gd name="connsiteY10" fmla="*/ 2275300 h 2561350"/>
              <a:gd name="connsiteX11" fmla="*/ 789691 w 2088885"/>
              <a:gd name="connsiteY11" fmla="*/ 2277680 h 2561350"/>
              <a:gd name="connsiteX12" fmla="*/ 819624 w 2088885"/>
              <a:gd name="connsiteY12" fmla="*/ 2167002 h 2561350"/>
              <a:gd name="connsiteX13" fmla="*/ 153225 w 2088885"/>
              <a:gd name="connsiteY13" fmla="*/ 2167002 h 2561350"/>
              <a:gd name="connsiteX14" fmla="*/ 153225 w 2088885"/>
              <a:gd name="connsiteY14" fmla="*/ 1458174 h 2561350"/>
              <a:gd name="connsiteX15" fmla="*/ 248224 w 2088885"/>
              <a:gd name="connsiteY15" fmla="*/ 1495354 h 2561350"/>
              <a:gd name="connsiteX16" fmla="*/ 245844 w 2088885"/>
              <a:gd name="connsiteY16" fmla="*/ 1045298 h 2561350"/>
              <a:gd name="connsiteX17" fmla="*/ 153225 w 2088885"/>
              <a:gd name="connsiteY17" fmla="*/ 1071146 h 2561350"/>
              <a:gd name="connsiteX18" fmla="*/ 106805 w 2088885"/>
              <a:gd name="connsiteY18" fmla="*/ 382371 h 2561350"/>
              <a:gd name="connsiteX19" fmla="*/ 824595 w 2088885"/>
              <a:gd name="connsiteY19" fmla="*/ 389002 h 2561350"/>
              <a:gd name="connsiteX20" fmla="*/ 789691 w 2088885"/>
              <a:gd name="connsiteY20" fmla="*/ 283670 h 2561350"/>
              <a:gd name="connsiteX21" fmla="*/ 1025434 w 208888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073465"/>
              <a:gd name="connsiteY0" fmla="*/ 3 h 2561350"/>
              <a:gd name="connsiteX1" fmla="*/ 1239747 w 2073465"/>
              <a:gd name="connsiteY1" fmla="*/ 286050 h 2561350"/>
              <a:gd name="connsiteX2" fmla="*/ 1217611 w 2073465"/>
              <a:gd name="connsiteY2" fmla="*/ 389002 h 2561350"/>
              <a:gd name="connsiteX3" fmla="*/ 1968899 w 2073465"/>
              <a:gd name="connsiteY3" fmla="*/ 369108 h 2561350"/>
              <a:gd name="connsiteX4" fmla="*/ 1949005 w 2073465"/>
              <a:gd name="connsiteY4" fmla="*/ 1063389 h 2561350"/>
              <a:gd name="connsiteX5" fmla="*/ 1859687 w 2073465"/>
              <a:gd name="connsiteY5" fmla="*/ 1037347 h 2561350"/>
              <a:gd name="connsiteX6" fmla="*/ 1857307 w 2073465"/>
              <a:gd name="connsiteY6" fmla="*/ 1487403 h 2561350"/>
              <a:gd name="connsiteX7" fmla="*/ 1949005 w 2073465"/>
              <a:gd name="connsiteY7" fmla="*/ 1449629 h 2561350"/>
              <a:gd name="connsiteX8" fmla="*/ 1949005 w 2073465"/>
              <a:gd name="connsiteY8" fmla="*/ 2167002 h 2561350"/>
              <a:gd name="connsiteX9" fmla="*/ 1219874 w 2073465"/>
              <a:gd name="connsiteY9" fmla="*/ 2167002 h 2561350"/>
              <a:gd name="connsiteX10" fmla="*/ 1239747 w 2073465"/>
              <a:gd name="connsiteY10" fmla="*/ 2275300 h 2561350"/>
              <a:gd name="connsiteX11" fmla="*/ 789691 w 2073465"/>
              <a:gd name="connsiteY11" fmla="*/ 2277680 h 2561350"/>
              <a:gd name="connsiteX12" fmla="*/ 819624 w 2073465"/>
              <a:gd name="connsiteY12" fmla="*/ 2167002 h 2561350"/>
              <a:gd name="connsiteX13" fmla="*/ 153225 w 2073465"/>
              <a:gd name="connsiteY13" fmla="*/ 2167002 h 2561350"/>
              <a:gd name="connsiteX14" fmla="*/ 153225 w 2073465"/>
              <a:gd name="connsiteY14" fmla="*/ 1458174 h 2561350"/>
              <a:gd name="connsiteX15" fmla="*/ 248224 w 2073465"/>
              <a:gd name="connsiteY15" fmla="*/ 1495354 h 2561350"/>
              <a:gd name="connsiteX16" fmla="*/ 245844 w 2073465"/>
              <a:gd name="connsiteY16" fmla="*/ 1045298 h 2561350"/>
              <a:gd name="connsiteX17" fmla="*/ 153225 w 2073465"/>
              <a:gd name="connsiteY17" fmla="*/ 1071146 h 2561350"/>
              <a:gd name="connsiteX18" fmla="*/ 106805 w 2073465"/>
              <a:gd name="connsiteY18" fmla="*/ 382371 h 2561350"/>
              <a:gd name="connsiteX19" fmla="*/ 824595 w 2073465"/>
              <a:gd name="connsiteY19" fmla="*/ 389002 h 2561350"/>
              <a:gd name="connsiteX20" fmla="*/ 789691 w 2073465"/>
              <a:gd name="connsiteY20" fmla="*/ 283670 h 2561350"/>
              <a:gd name="connsiteX21" fmla="*/ 1025434 w 2073465"/>
              <a:gd name="connsiteY21" fmla="*/ 3 h 2561350"/>
              <a:gd name="connsiteX0" fmla="*/ 1025434 w 2102756"/>
              <a:gd name="connsiteY0" fmla="*/ 3 h 2561350"/>
              <a:gd name="connsiteX1" fmla="*/ 1239747 w 2102756"/>
              <a:gd name="connsiteY1" fmla="*/ 286050 h 2561350"/>
              <a:gd name="connsiteX2" fmla="*/ 1217611 w 2102756"/>
              <a:gd name="connsiteY2" fmla="*/ 389002 h 2561350"/>
              <a:gd name="connsiteX3" fmla="*/ 1968899 w 2102756"/>
              <a:gd name="connsiteY3" fmla="*/ 369108 h 2561350"/>
              <a:gd name="connsiteX4" fmla="*/ 1949005 w 2102756"/>
              <a:gd name="connsiteY4" fmla="*/ 1063389 h 2561350"/>
              <a:gd name="connsiteX5" fmla="*/ 1859687 w 2102756"/>
              <a:gd name="connsiteY5" fmla="*/ 1037347 h 2561350"/>
              <a:gd name="connsiteX6" fmla="*/ 1857307 w 2102756"/>
              <a:gd name="connsiteY6" fmla="*/ 1487403 h 2561350"/>
              <a:gd name="connsiteX7" fmla="*/ 1995425 w 2102756"/>
              <a:gd name="connsiteY7" fmla="*/ 1456260 h 2561350"/>
              <a:gd name="connsiteX8" fmla="*/ 1949005 w 2102756"/>
              <a:gd name="connsiteY8" fmla="*/ 2167002 h 2561350"/>
              <a:gd name="connsiteX9" fmla="*/ 1219874 w 2102756"/>
              <a:gd name="connsiteY9" fmla="*/ 2167002 h 2561350"/>
              <a:gd name="connsiteX10" fmla="*/ 1239747 w 2102756"/>
              <a:gd name="connsiteY10" fmla="*/ 2275300 h 2561350"/>
              <a:gd name="connsiteX11" fmla="*/ 789691 w 2102756"/>
              <a:gd name="connsiteY11" fmla="*/ 2277680 h 2561350"/>
              <a:gd name="connsiteX12" fmla="*/ 819624 w 2102756"/>
              <a:gd name="connsiteY12" fmla="*/ 2167002 h 2561350"/>
              <a:gd name="connsiteX13" fmla="*/ 153225 w 2102756"/>
              <a:gd name="connsiteY13" fmla="*/ 2167002 h 2561350"/>
              <a:gd name="connsiteX14" fmla="*/ 153225 w 2102756"/>
              <a:gd name="connsiteY14" fmla="*/ 1458174 h 2561350"/>
              <a:gd name="connsiteX15" fmla="*/ 248224 w 2102756"/>
              <a:gd name="connsiteY15" fmla="*/ 1495354 h 2561350"/>
              <a:gd name="connsiteX16" fmla="*/ 245844 w 2102756"/>
              <a:gd name="connsiteY16" fmla="*/ 1045298 h 2561350"/>
              <a:gd name="connsiteX17" fmla="*/ 153225 w 2102756"/>
              <a:gd name="connsiteY17" fmla="*/ 1071146 h 2561350"/>
              <a:gd name="connsiteX18" fmla="*/ 106805 w 2102756"/>
              <a:gd name="connsiteY18" fmla="*/ 382371 h 2561350"/>
              <a:gd name="connsiteX19" fmla="*/ 824595 w 2102756"/>
              <a:gd name="connsiteY19" fmla="*/ 389002 h 2561350"/>
              <a:gd name="connsiteX20" fmla="*/ 789691 w 2102756"/>
              <a:gd name="connsiteY20" fmla="*/ 283670 h 2561350"/>
              <a:gd name="connsiteX21" fmla="*/ 1025434 w 2102756"/>
              <a:gd name="connsiteY21" fmla="*/ 3 h 2561350"/>
              <a:gd name="connsiteX0" fmla="*/ 1025434 w 2076232"/>
              <a:gd name="connsiteY0" fmla="*/ 3 h 2561350"/>
              <a:gd name="connsiteX1" fmla="*/ 1239747 w 2076232"/>
              <a:gd name="connsiteY1" fmla="*/ 286050 h 2561350"/>
              <a:gd name="connsiteX2" fmla="*/ 1217611 w 2076232"/>
              <a:gd name="connsiteY2" fmla="*/ 389002 h 2561350"/>
              <a:gd name="connsiteX3" fmla="*/ 1968899 w 2076232"/>
              <a:gd name="connsiteY3" fmla="*/ 369108 h 2561350"/>
              <a:gd name="connsiteX4" fmla="*/ 1949005 w 2076232"/>
              <a:gd name="connsiteY4" fmla="*/ 1063389 h 2561350"/>
              <a:gd name="connsiteX5" fmla="*/ 1859687 w 2076232"/>
              <a:gd name="connsiteY5" fmla="*/ 1037347 h 2561350"/>
              <a:gd name="connsiteX6" fmla="*/ 1857307 w 2076232"/>
              <a:gd name="connsiteY6" fmla="*/ 1487403 h 2561350"/>
              <a:gd name="connsiteX7" fmla="*/ 1995425 w 2076232"/>
              <a:gd name="connsiteY7" fmla="*/ 1456260 h 2561350"/>
              <a:gd name="connsiteX8" fmla="*/ 1949005 w 2076232"/>
              <a:gd name="connsiteY8" fmla="*/ 2167002 h 2561350"/>
              <a:gd name="connsiteX9" fmla="*/ 1219874 w 2076232"/>
              <a:gd name="connsiteY9" fmla="*/ 2167002 h 2561350"/>
              <a:gd name="connsiteX10" fmla="*/ 1239747 w 2076232"/>
              <a:gd name="connsiteY10" fmla="*/ 2275300 h 2561350"/>
              <a:gd name="connsiteX11" fmla="*/ 789691 w 2076232"/>
              <a:gd name="connsiteY11" fmla="*/ 2277680 h 2561350"/>
              <a:gd name="connsiteX12" fmla="*/ 819624 w 2076232"/>
              <a:gd name="connsiteY12" fmla="*/ 2167002 h 2561350"/>
              <a:gd name="connsiteX13" fmla="*/ 153225 w 2076232"/>
              <a:gd name="connsiteY13" fmla="*/ 2167002 h 2561350"/>
              <a:gd name="connsiteX14" fmla="*/ 153225 w 2076232"/>
              <a:gd name="connsiteY14" fmla="*/ 1458174 h 2561350"/>
              <a:gd name="connsiteX15" fmla="*/ 248224 w 2076232"/>
              <a:gd name="connsiteY15" fmla="*/ 1495354 h 2561350"/>
              <a:gd name="connsiteX16" fmla="*/ 245844 w 2076232"/>
              <a:gd name="connsiteY16" fmla="*/ 1045298 h 2561350"/>
              <a:gd name="connsiteX17" fmla="*/ 153225 w 2076232"/>
              <a:gd name="connsiteY17" fmla="*/ 1071146 h 2561350"/>
              <a:gd name="connsiteX18" fmla="*/ 106805 w 2076232"/>
              <a:gd name="connsiteY18" fmla="*/ 382371 h 2561350"/>
              <a:gd name="connsiteX19" fmla="*/ 824595 w 2076232"/>
              <a:gd name="connsiteY19" fmla="*/ 389002 h 2561350"/>
              <a:gd name="connsiteX20" fmla="*/ 789691 w 2076232"/>
              <a:gd name="connsiteY20" fmla="*/ 283670 h 2561350"/>
              <a:gd name="connsiteX21" fmla="*/ 1025434 w 2076232"/>
              <a:gd name="connsiteY21" fmla="*/ 3 h 2561350"/>
              <a:gd name="connsiteX0" fmla="*/ 1025434 w 2077711"/>
              <a:gd name="connsiteY0" fmla="*/ 3 h 2561350"/>
              <a:gd name="connsiteX1" fmla="*/ 1239747 w 2077711"/>
              <a:gd name="connsiteY1" fmla="*/ 286050 h 2561350"/>
              <a:gd name="connsiteX2" fmla="*/ 1217611 w 2077711"/>
              <a:gd name="connsiteY2" fmla="*/ 389002 h 2561350"/>
              <a:gd name="connsiteX3" fmla="*/ 1968899 w 2077711"/>
              <a:gd name="connsiteY3" fmla="*/ 369108 h 2561350"/>
              <a:gd name="connsiteX4" fmla="*/ 1949005 w 2077711"/>
              <a:gd name="connsiteY4" fmla="*/ 1063389 h 2561350"/>
              <a:gd name="connsiteX5" fmla="*/ 1859687 w 2077711"/>
              <a:gd name="connsiteY5" fmla="*/ 1037347 h 2561350"/>
              <a:gd name="connsiteX6" fmla="*/ 1857307 w 2077711"/>
              <a:gd name="connsiteY6" fmla="*/ 1487403 h 2561350"/>
              <a:gd name="connsiteX7" fmla="*/ 1995425 w 2077711"/>
              <a:gd name="connsiteY7" fmla="*/ 1456260 h 2561350"/>
              <a:gd name="connsiteX8" fmla="*/ 1949005 w 2077711"/>
              <a:gd name="connsiteY8" fmla="*/ 2167002 h 2561350"/>
              <a:gd name="connsiteX9" fmla="*/ 1219874 w 2077711"/>
              <a:gd name="connsiteY9" fmla="*/ 2167002 h 2561350"/>
              <a:gd name="connsiteX10" fmla="*/ 1239747 w 2077711"/>
              <a:gd name="connsiteY10" fmla="*/ 2275300 h 2561350"/>
              <a:gd name="connsiteX11" fmla="*/ 789691 w 2077711"/>
              <a:gd name="connsiteY11" fmla="*/ 2277680 h 2561350"/>
              <a:gd name="connsiteX12" fmla="*/ 819624 w 2077711"/>
              <a:gd name="connsiteY12" fmla="*/ 2167002 h 2561350"/>
              <a:gd name="connsiteX13" fmla="*/ 153225 w 2077711"/>
              <a:gd name="connsiteY13" fmla="*/ 2167002 h 2561350"/>
              <a:gd name="connsiteX14" fmla="*/ 153225 w 2077711"/>
              <a:gd name="connsiteY14" fmla="*/ 1458174 h 2561350"/>
              <a:gd name="connsiteX15" fmla="*/ 248224 w 2077711"/>
              <a:gd name="connsiteY15" fmla="*/ 1495354 h 2561350"/>
              <a:gd name="connsiteX16" fmla="*/ 245844 w 2077711"/>
              <a:gd name="connsiteY16" fmla="*/ 1045298 h 2561350"/>
              <a:gd name="connsiteX17" fmla="*/ 153225 w 2077711"/>
              <a:gd name="connsiteY17" fmla="*/ 1071146 h 2561350"/>
              <a:gd name="connsiteX18" fmla="*/ 106805 w 2077711"/>
              <a:gd name="connsiteY18" fmla="*/ 382371 h 2561350"/>
              <a:gd name="connsiteX19" fmla="*/ 824595 w 2077711"/>
              <a:gd name="connsiteY19" fmla="*/ 389002 h 2561350"/>
              <a:gd name="connsiteX20" fmla="*/ 789691 w 2077711"/>
              <a:gd name="connsiteY20" fmla="*/ 283670 h 2561350"/>
              <a:gd name="connsiteX21" fmla="*/ 1025434 w 2077711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57307 w 2082173"/>
              <a:gd name="connsiteY6" fmla="*/ 1487403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67002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53225 w 2082173"/>
              <a:gd name="connsiteY13" fmla="*/ 2167002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53225 w 2082173"/>
              <a:gd name="connsiteY14" fmla="*/ 1458174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1331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13436 w 2082173"/>
              <a:gd name="connsiteY14" fmla="*/ 1511225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48224 w 2082173"/>
              <a:gd name="connsiteY15" fmla="*/ 1495354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94643 w 2082173"/>
              <a:gd name="connsiteY15" fmla="*/ 1574931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25434 w 2082173"/>
              <a:gd name="connsiteY0" fmla="*/ 3 h 2561350"/>
              <a:gd name="connsiteX1" fmla="*/ 1239747 w 2082173"/>
              <a:gd name="connsiteY1" fmla="*/ 286050 h 2561350"/>
              <a:gd name="connsiteX2" fmla="*/ 1217611 w 2082173"/>
              <a:gd name="connsiteY2" fmla="*/ 389002 h 2561350"/>
              <a:gd name="connsiteX3" fmla="*/ 1968899 w 2082173"/>
              <a:gd name="connsiteY3" fmla="*/ 369108 h 2561350"/>
              <a:gd name="connsiteX4" fmla="*/ 1962267 w 2082173"/>
              <a:gd name="connsiteY4" fmla="*/ 1096546 h 2561350"/>
              <a:gd name="connsiteX5" fmla="*/ 1859687 w 2082173"/>
              <a:gd name="connsiteY5" fmla="*/ 1037347 h 2561350"/>
              <a:gd name="connsiteX6" fmla="*/ 1844045 w 2082173"/>
              <a:gd name="connsiteY6" fmla="*/ 1520560 h 2561350"/>
              <a:gd name="connsiteX7" fmla="*/ 1995425 w 2082173"/>
              <a:gd name="connsiteY7" fmla="*/ 1456260 h 2561350"/>
              <a:gd name="connsiteX8" fmla="*/ 1949005 w 2082173"/>
              <a:gd name="connsiteY8" fmla="*/ 2180265 h 2561350"/>
              <a:gd name="connsiteX9" fmla="*/ 1219874 w 2082173"/>
              <a:gd name="connsiteY9" fmla="*/ 2167002 h 2561350"/>
              <a:gd name="connsiteX10" fmla="*/ 1239747 w 2082173"/>
              <a:gd name="connsiteY10" fmla="*/ 2275300 h 2561350"/>
              <a:gd name="connsiteX11" fmla="*/ 789691 w 2082173"/>
              <a:gd name="connsiteY11" fmla="*/ 2277680 h 2561350"/>
              <a:gd name="connsiteX12" fmla="*/ 819624 w 2082173"/>
              <a:gd name="connsiteY12" fmla="*/ 2167002 h 2561350"/>
              <a:gd name="connsiteX13" fmla="*/ 126699 w 2082173"/>
              <a:gd name="connsiteY13" fmla="*/ 2200159 h 2561350"/>
              <a:gd name="connsiteX14" fmla="*/ 106805 w 2082173"/>
              <a:gd name="connsiteY14" fmla="*/ 1497962 h 2561350"/>
              <a:gd name="connsiteX15" fmla="*/ 268118 w 2082173"/>
              <a:gd name="connsiteY15" fmla="*/ 1561668 h 2561350"/>
              <a:gd name="connsiteX16" fmla="*/ 245844 w 2082173"/>
              <a:gd name="connsiteY16" fmla="*/ 1045298 h 2561350"/>
              <a:gd name="connsiteX17" fmla="*/ 153225 w 2082173"/>
              <a:gd name="connsiteY17" fmla="*/ 1071146 h 2561350"/>
              <a:gd name="connsiteX18" fmla="*/ 106805 w 2082173"/>
              <a:gd name="connsiteY18" fmla="*/ 382371 h 2561350"/>
              <a:gd name="connsiteX19" fmla="*/ 824595 w 2082173"/>
              <a:gd name="connsiteY19" fmla="*/ 389002 h 2561350"/>
              <a:gd name="connsiteX20" fmla="*/ 789691 w 2082173"/>
              <a:gd name="connsiteY20" fmla="*/ 283670 h 2561350"/>
              <a:gd name="connsiteX21" fmla="*/ 1025434 w 2082173"/>
              <a:gd name="connsiteY21" fmla="*/ 3 h 2561350"/>
              <a:gd name="connsiteX0" fmla="*/ 1038495 w 2095234"/>
              <a:gd name="connsiteY0" fmla="*/ 3 h 2561350"/>
              <a:gd name="connsiteX1" fmla="*/ 1252808 w 2095234"/>
              <a:gd name="connsiteY1" fmla="*/ 286050 h 2561350"/>
              <a:gd name="connsiteX2" fmla="*/ 1230672 w 2095234"/>
              <a:gd name="connsiteY2" fmla="*/ 389002 h 2561350"/>
              <a:gd name="connsiteX3" fmla="*/ 1981960 w 2095234"/>
              <a:gd name="connsiteY3" fmla="*/ 369108 h 2561350"/>
              <a:gd name="connsiteX4" fmla="*/ 1975328 w 2095234"/>
              <a:gd name="connsiteY4" fmla="*/ 1096546 h 2561350"/>
              <a:gd name="connsiteX5" fmla="*/ 1872748 w 2095234"/>
              <a:gd name="connsiteY5" fmla="*/ 1037347 h 2561350"/>
              <a:gd name="connsiteX6" fmla="*/ 1857106 w 2095234"/>
              <a:gd name="connsiteY6" fmla="*/ 1520560 h 2561350"/>
              <a:gd name="connsiteX7" fmla="*/ 2008486 w 2095234"/>
              <a:gd name="connsiteY7" fmla="*/ 1456260 h 2561350"/>
              <a:gd name="connsiteX8" fmla="*/ 1962066 w 2095234"/>
              <a:gd name="connsiteY8" fmla="*/ 2180265 h 2561350"/>
              <a:gd name="connsiteX9" fmla="*/ 1232935 w 2095234"/>
              <a:gd name="connsiteY9" fmla="*/ 2167002 h 2561350"/>
              <a:gd name="connsiteX10" fmla="*/ 1252808 w 2095234"/>
              <a:gd name="connsiteY10" fmla="*/ 2275300 h 2561350"/>
              <a:gd name="connsiteX11" fmla="*/ 802752 w 2095234"/>
              <a:gd name="connsiteY11" fmla="*/ 2277680 h 2561350"/>
              <a:gd name="connsiteX12" fmla="*/ 832685 w 2095234"/>
              <a:gd name="connsiteY12" fmla="*/ 2167002 h 2561350"/>
              <a:gd name="connsiteX13" fmla="*/ 139760 w 2095234"/>
              <a:gd name="connsiteY13" fmla="*/ 2200159 h 2561350"/>
              <a:gd name="connsiteX14" fmla="*/ 119866 w 2095234"/>
              <a:gd name="connsiteY14" fmla="*/ 1497962 h 2561350"/>
              <a:gd name="connsiteX15" fmla="*/ 281179 w 2095234"/>
              <a:gd name="connsiteY15" fmla="*/ 1561668 h 2561350"/>
              <a:gd name="connsiteX16" fmla="*/ 258905 w 2095234"/>
              <a:gd name="connsiteY16" fmla="*/ 1045298 h 2561350"/>
              <a:gd name="connsiteX17" fmla="*/ 146392 w 2095234"/>
              <a:gd name="connsiteY17" fmla="*/ 1091040 h 2561350"/>
              <a:gd name="connsiteX18" fmla="*/ 119866 w 2095234"/>
              <a:gd name="connsiteY18" fmla="*/ 382371 h 2561350"/>
              <a:gd name="connsiteX19" fmla="*/ 837656 w 2095234"/>
              <a:gd name="connsiteY19" fmla="*/ 389002 h 2561350"/>
              <a:gd name="connsiteX20" fmla="*/ 802752 w 2095234"/>
              <a:gd name="connsiteY20" fmla="*/ 283670 h 2561350"/>
              <a:gd name="connsiteX21" fmla="*/ 1038495 w 2095234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29810 w 2086549"/>
              <a:gd name="connsiteY0" fmla="*/ 3 h 2561350"/>
              <a:gd name="connsiteX1" fmla="*/ 1244123 w 2086549"/>
              <a:gd name="connsiteY1" fmla="*/ 286050 h 2561350"/>
              <a:gd name="connsiteX2" fmla="*/ 1221987 w 2086549"/>
              <a:gd name="connsiteY2" fmla="*/ 389002 h 2561350"/>
              <a:gd name="connsiteX3" fmla="*/ 1973275 w 2086549"/>
              <a:gd name="connsiteY3" fmla="*/ 369108 h 2561350"/>
              <a:gd name="connsiteX4" fmla="*/ 1966643 w 2086549"/>
              <a:gd name="connsiteY4" fmla="*/ 1096546 h 2561350"/>
              <a:gd name="connsiteX5" fmla="*/ 1864063 w 2086549"/>
              <a:gd name="connsiteY5" fmla="*/ 1037347 h 2561350"/>
              <a:gd name="connsiteX6" fmla="*/ 1848421 w 2086549"/>
              <a:gd name="connsiteY6" fmla="*/ 1520560 h 2561350"/>
              <a:gd name="connsiteX7" fmla="*/ 1999801 w 2086549"/>
              <a:gd name="connsiteY7" fmla="*/ 1456260 h 2561350"/>
              <a:gd name="connsiteX8" fmla="*/ 1953381 w 2086549"/>
              <a:gd name="connsiteY8" fmla="*/ 2180265 h 2561350"/>
              <a:gd name="connsiteX9" fmla="*/ 1224250 w 2086549"/>
              <a:gd name="connsiteY9" fmla="*/ 2167002 h 2561350"/>
              <a:gd name="connsiteX10" fmla="*/ 1244123 w 2086549"/>
              <a:gd name="connsiteY10" fmla="*/ 2275300 h 2561350"/>
              <a:gd name="connsiteX11" fmla="*/ 794067 w 2086549"/>
              <a:gd name="connsiteY11" fmla="*/ 2277680 h 2561350"/>
              <a:gd name="connsiteX12" fmla="*/ 824000 w 2086549"/>
              <a:gd name="connsiteY12" fmla="*/ 2167002 h 2561350"/>
              <a:gd name="connsiteX13" fmla="*/ 131075 w 2086549"/>
              <a:gd name="connsiteY13" fmla="*/ 2200159 h 2561350"/>
              <a:gd name="connsiteX14" fmla="*/ 111181 w 2086549"/>
              <a:gd name="connsiteY14" fmla="*/ 1497962 h 2561350"/>
              <a:gd name="connsiteX15" fmla="*/ 272494 w 2086549"/>
              <a:gd name="connsiteY15" fmla="*/ 1561668 h 2561350"/>
              <a:gd name="connsiteX16" fmla="*/ 250220 w 2086549"/>
              <a:gd name="connsiteY16" fmla="*/ 1045298 h 2561350"/>
              <a:gd name="connsiteX17" fmla="*/ 137707 w 2086549"/>
              <a:gd name="connsiteY17" fmla="*/ 1091040 h 2561350"/>
              <a:gd name="connsiteX18" fmla="*/ 111181 w 2086549"/>
              <a:gd name="connsiteY18" fmla="*/ 382371 h 2561350"/>
              <a:gd name="connsiteX19" fmla="*/ 828971 w 2086549"/>
              <a:gd name="connsiteY19" fmla="*/ 389002 h 2561350"/>
              <a:gd name="connsiteX20" fmla="*/ 794067 w 2086549"/>
              <a:gd name="connsiteY20" fmla="*/ 283670 h 2561350"/>
              <a:gd name="connsiteX21" fmla="*/ 1029810 w 2086549"/>
              <a:gd name="connsiteY21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01239 w 2076607"/>
              <a:gd name="connsiteY17" fmla="*/ 382371 h 2561350"/>
              <a:gd name="connsiteX18" fmla="*/ 819029 w 2076607"/>
              <a:gd name="connsiteY18" fmla="*/ 389002 h 2561350"/>
              <a:gd name="connsiteX19" fmla="*/ 784125 w 2076607"/>
              <a:gd name="connsiteY19" fmla="*/ 283670 h 2561350"/>
              <a:gd name="connsiteX20" fmla="*/ 1019868 w 2076607"/>
              <a:gd name="connsiteY20" fmla="*/ 3 h 2561350"/>
              <a:gd name="connsiteX0" fmla="*/ 1019868 w 2076607"/>
              <a:gd name="connsiteY0" fmla="*/ 3 h 2561350"/>
              <a:gd name="connsiteX1" fmla="*/ 1234181 w 2076607"/>
              <a:gd name="connsiteY1" fmla="*/ 286050 h 2561350"/>
              <a:gd name="connsiteX2" fmla="*/ 1212045 w 2076607"/>
              <a:gd name="connsiteY2" fmla="*/ 389002 h 2561350"/>
              <a:gd name="connsiteX3" fmla="*/ 1963333 w 2076607"/>
              <a:gd name="connsiteY3" fmla="*/ 369108 h 2561350"/>
              <a:gd name="connsiteX4" fmla="*/ 1956701 w 2076607"/>
              <a:gd name="connsiteY4" fmla="*/ 1096546 h 2561350"/>
              <a:gd name="connsiteX5" fmla="*/ 1854121 w 2076607"/>
              <a:gd name="connsiteY5" fmla="*/ 1037347 h 2561350"/>
              <a:gd name="connsiteX6" fmla="*/ 1838479 w 2076607"/>
              <a:gd name="connsiteY6" fmla="*/ 1520560 h 2561350"/>
              <a:gd name="connsiteX7" fmla="*/ 1989859 w 2076607"/>
              <a:gd name="connsiteY7" fmla="*/ 1456260 h 2561350"/>
              <a:gd name="connsiteX8" fmla="*/ 1943439 w 2076607"/>
              <a:gd name="connsiteY8" fmla="*/ 2180265 h 2561350"/>
              <a:gd name="connsiteX9" fmla="*/ 1214308 w 2076607"/>
              <a:gd name="connsiteY9" fmla="*/ 2167002 h 2561350"/>
              <a:gd name="connsiteX10" fmla="*/ 1234181 w 2076607"/>
              <a:gd name="connsiteY10" fmla="*/ 2275300 h 2561350"/>
              <a:gd name="connsiteX11" fmla="*/ 784125 w 2076607"/>
              <a:gd name="connsiteY11" fmla="*/ 2277680 h 2561350"/>
              <a:gd name="connsiteX12" fmla="*/ 814058 w 2076607"/>
              <a:gd name="connsiteY12" fmla="*/ 2167002 h 2561350"/>
              <a:gd name="connsiteX13" fmla="*/ 121133 w 2076607"/>
              <a:gd name="connsiteY13" fmla="*/ 2200159 h 2561350"/>
              <a:gd name="connsiteX14" fmla="*/ 101239 w 2076607"/>
              <a:gd name="connsiteY14" fmla="*/ 1497962 h 2561350"/>
              <a:gd name="connsiteX15" fmla="*/ 262552 w 2076607"/>
              <a:gd name="connsiteY15" fmla="*/ 1561668 h 2561350"/>
              <a:gd name="connsiteX16" fmla="*/ 240278 w 2076607"/>
              <a:gd name="connsiteY16" fmla="*/ 1045298 h 2561350"/>
              <a:gd name="connsiteX17" fmla="*/ 136388 w 2076607"/>
              <a:gd name="connsiteY17" fmla="*/ 727479 h 2561350"/>
              <a:gd name="connsiteX18" fmla="*/ 101239 w 2076607"/>
              <a:gd name="connsiteY18" fmla="*/ 382371 h 2561350"/>
              <a:gd name="connsiteX19" fmla="*/ 819029 w 2076607"/>
              <a:gd name="connsiteY19" fmla="*/ 389002 h 2561350"/>
              <a:gd name="connsiteX20" fmla="*/ 784125 w 2076607"/>
              <a:gd name="connsiteY20" fmla="*/ 283670 h 2561350"/>
              <a:gd name="connsiteX21" fmla="*/ 1019868 w 2076607"/>
              <a:gd name="connsiteY21" fmla="*/ 3 h 2561350"/>
              <a:gd name="connsiteX0" fmla="*/ 1030195 w 2086934"/>
              <a:gd name="connsiteY0" fmla="*/ 3 h 2561350"/>
              <a:gd name="connsiteX1" fmla="*/ 1244508 w 2086934"/>
              <a:gd name="connsiteY1" fmla="*/ 286050 h 2561350"/>
              <a:gd name="connsiteX2" fmla="*/ 1222372 w 2086934"/>
              <a:gd name="connsiteY2" fmla="*/ 389002 h 2561350"/>
              <a:gd name="connsiteX3" fmla="*/ 1973660 w 2086934"/>
              <a:gd name="connsiteY3" fmla="*/ 369108 h 2561350"/>
              <a:gd name="connsiteX4" fmla="*/ 1967028 w 2086934"/>
              <a:gd name="connsiteY4" fmla="*/ 1096546 h 2561350"/>
              <a:gd name="connsiteX5" fmla="*/ 1864448 w 2086934"/>
              <a:gd name="connsiteY5" fmla="*/ 1037347 h 2561350"/>
              <a:gd name="connsiteX6" fmla="*/ 1848806 w 2086934"/>
              <a:gd name="connsiteY6" fmla="*/ 1520560 h 2561350"/>
              <a:gd name="connsiteX7" fmla="*/ 2000186 w 2086934"/>
              <a:gd name="connsiteY7" fmla="*/ 1456260 h 2561350"/>
              <a:gd name="connsiteX8" fmla="*/ 1953766 w 2086934"/>
              <a:gd name="connsiteY8" fmla="*/ 2180265 h 2561350"/>
              <a:gd name="connsiteX9" fmla="*/ 1224635 w 2086934"/>
              <a:gd name="connsiteY9" fmla="*/ 2167002 h 2561350"/>
              <a:gd name="connsiteX10" fmla="*/ 1244508 w 2086934"/>
              <a:gd name="connsiteY10" fmla="*/ 2275300 h 2561350"/>
              <a:gd name="connsiteX11" fmla="*/ 794452 w 2086934"/>
              <a:gd name="connsiteY11" fmla="*/ 2277680 h 2561350"/>
              <a:gd name="connsiteX12" fmla="*/ 824385 w 2086934"/>
              <a:gd name="connsiteY12" fmla="*/ 2167002 h 2561350"/>
              <a:gd name="connsiteX13" fmla="*/ 131460 w 2086934"/>
              <a:gd name="connsiteY13" fmla="*/ 2200159 h 2561350"/>
              <a:gd name="connsiteX14" fmla="*/ 111566 w 2086934"/>
              <a:gd name="connsiteY14" fmla="*/ 1497962 h 2561350"/>
              <a:gd name="connsiteX15" fmla="*/ 272879 w 2086934"/>
              <a:gd name="connsiteY15" fmla="*/ 1561668 h 2561350"/>
              <a:gd name="connsiteX16" fmla="*/ 250605 w 2086934"/>
              <a:gd name="connsiteY16" fmla="*/ 1045298 h 2561350"/>
              <a:gd name="connsiteX17" fmla="*/ 9943 w 2086934"/>
              <a:gd name="connsiteY17" fmla="*/ 1018431 h 2561350"/>
              <a:gd name="connsiteX18" fmla="*/ 111566 w 2086934"/>
              <a:gd name="connsiteY18" fmla="*/ 382371 h 2561350"/>
              <a:gd name="connsiteX19" fmla="*/ 829356 w 2086934"/>
              <a:gd name="connsiteY19" fmla="*/ 389002 h 2561350"/>
              <a:gd name="connsiteX20" fmla="*/ 794452 w 2086934"/>
              <a:gd name="connsiteY20" fmla="*/ 283670 h 2561350"/>
              <a:gd name="connsiteX21" fmla="*/ 1030195 w 2086934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09253 w 2084621"/>
              <a:gd name="connsiteY14" fmla="*/ 1497962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270566 w 2084621"/>
              <a:gd name="connsiteY14" fmla="*/ 1561668 h 2561350"/>
              <a:gd name="connsiteX15" fmla="*/ 248292 w 2084621"/>
              <a:gd name="connsiteY15" fmla="*/ 1045298 h 2561350"/>
              <a:gd name="connsiteX16" fmla="*/ 7630 w 2084621"/>
              <a:gd name="connsiteY16" fmla="*/ 1018431 h 2561350"/>
              <a:gd name="connsiteX17" fmla="*/ 109253 w 2084621"/>
              <a:gd name="connsiteY17" fmla="*/ 382371 h 2561350"/>
              <a:gd name="connsiteX18" fmla="*/ 827043 w 2084621"/>
              <a:gd name="connsiteY18" fmla="*/ 389002 h 2561350"/>
              <a:gd name="connsiteX19" fmla="*/ 792139 w 2084621"/>
              <a:gd name="connsiteY19" fmla="*/ 283670 h 2561350"/>
              <a:gd name="connsiteX20" fmla="*/ 1027882 w 2084621"/>
              <a:gd name="connsiteY20" fmla="*/ 3 h 2561350"/>
              <a:gd name="connsiteX0" fmla="*/ 1027882 w 2084621"/>
              <a:gd name="connsiteY0" fmla="*/ 3 h 2561350"/>
              <a:gd name="connsiteX1" fmla="*/ 1242195 w 2084621"/>
              <a:gd name="connsiteY1" fmla="*/ 286050 h 2561350"/>
              <a:gd name="connsiteX2" fmla="*/ 1220059 w 2084621"/>
              <a:gd name="connsiteY2" fmla="*/ 389002 h 2561350"/>
              <a:gd name="connsiteX3" fmla="*/ 1971347 w 2084621"/>
              <a:gd name="connsiteY3" fmla="*/ 369108 h 2561350"/>
              <a:gd name="connsiteX4" fmla="*/ 1964715 w 2084621"/>
              <a:gd name="connsiteY4" fmla="*/ 1096546 h 2561350"/>
              <a:gd name="connsiteX5" fmla="*/ 1862135 w 2084621"/>
              <a:gd name="connsiteY5" fmla="*/ 1037347 h 2561350"/>
              <a:gd name="connsiteX6" fmla="*/ 1846493 w 2084621"/>
              <a:gd name="connsiteY6" fmla="*/ 1520560 h 2561350"/>
              <a:gd name="connsiteX7" fmla="*/ 1997873 w 2084621"/>
              <a:gd name="connsiteY7" fmla="*/ 1456260 h 2561350"/>
              <a:gd name="connsiteX8" fmla="*/ 1951453 w 2084621"/>
              <a:gd name="connsiteY8" fmla="*/ 2180265 h 2561350"/>
              <a:gd name="connsiteX9" fmla="*/ 1222322 w 2084621"/>
              <a:gd name="connsiteY9" fmla="*/ 2167002 h 2561350"/>
              <a:gd name="connsiteX10" fmla="*/ 1242195 w 2084621"/>
              <a:gd name="connsiteY10" fmla="*/ 2275300 h 2561350"/>
              <a:gd name="connsiteX11" fmla="*/ 792139 w 2084621"/>
              <a:gd name="connsiteY11" fmla="*/ 2277680 h 2561350"/>
              <a:gd name="connsiteX12" fmla="*/ 822072 w 2084621"/>
              <a:gd name="connsiteY12" fmla="*/ 2167002 h 2561350"/>
              <a:gd name="connsiteX13" fmla="*/ 129147 w 2084621"/>
              <a:gd name="connsiteY13" fmla="*/ 2200159 h 2561350"/>
              <a:gd name="connsiteX14" fmla="*/ 176730 w 2084621"/>
              <a:gd name="connsiteY14" fmla="*/ 1866419 h 2561350"/>
              <a:gd name="connsiteX15" fmla="*/ 270566 w 2084621"/>
              <a:gd name="connsiteY15" fmla="*/ 1561668 h 2561350"/>
              <a:gd name="connsiteX16" fmla="*/ 248292 w 2084621"/>
              <a:gd name="connsiteY16" fmla="*/ 1045298 h 2561350"/>
              <a:gd name="connsiteX17" fmla="*/ 7630 w 2084621"/>
              <a:gd name="connsiteY17" fmla="*/ 1018431 h 2561350"/>
              <a:gd name="connsiteX18" fmla="*/ 109253 w 2084621"/>
              <a:gd name="connsiteY18" fmla="*/ 382371 h 2561350"/>
              <a:gd name="connsiteX19" fmla="*/ 827043 w 2084621"/>
              <a:gd name="connsiteY19" fmla="*/ 389002 h 2561350"/>
              <a:gd name="connsiteX20" fmla="*/ 792139 w 2084621"/>
              <a:gd name="connsiteY20" fmla="*/ 283670 h 2561350"/>
              <a:gd name="connsiteX21" fmla="*/ 1027882 w 2084621"/>
              <a:gd name="connsiteY21" fmla="*/ 3 h 2561350"/>
              <a:gd name="connsiteX0" fmla="*/ 1033820 w 2090559"/>
              <a:gd name="connsiteY0" fmla="*/ 3 h 2561350"/>
              <a:gd name="connsiteX1" fmla="*/ 1248133 w 2090559"/>
              <a:gd name="connsiteY1" fmla="*/ 286050 h 2561350"/>
              <a:gd name="connsiteX2" fmla="*/ 1225997 w 2090559"/>
              <a:gd name="connsiteY2" fmla="*/ 389002 h 2561350"/>
              <a:gd name="connsiteX3" fmla="*/ 1977285 w 2090559"/>
              <a:gd name="connsiteY3" fmla="*/ 369108 h 2561350"/>
              <a:gd name="connsiteX4" fmla="*/ 1970653 w 2090559"/>
              <a:gd name="connsiteY4" fmla="*/ 1096546 h 2561350"/>
              <a:gd name="connsiteX5" fmla="*/ 1868073 w 2090559"/>
              <a:gd name="connsiteY5" fmla="*/ 1037347 h 2561350"/>
              <a:gd name="connsiteX6" fmla="*/ 1852431 w 2090559"/>
              <a:gd name="connsiteY6" fmla="*/ 1520560 h 2561350"/>
              <a:gd name="connsiteX7" fmla="*/ 2003811 w 2090559"/>
              <a:gd name="connsiteY7" fmla="*/ 1456260 h 2561350"/>
              <a:gd name="connsiteX8" fmla="*/ 1957391 w 2090559"/>
              <a:gd name="connsiteY8" fmla="*/ 2180265 h 2561350"/>
              <a:gd name="connsiteX9" fmla="*/ 1228260 w 2090559"/>
              <a:gd name="connsiteY9" fmla="*/ 2167002 h 2561350"/>
              <a:gd name="connsiteX10" fmla="*/ 1248133 w 2090559"/>
              <a:gd name="connsiteY10" fmla="*/ 2275300 h 2561350"/>
              <a:gd name="connsiteX11" fmla="*/ 798077 w 2090559"/>
              <a:gd name="connsiteY11" fmla="*/ 2277680 h 2561350"/>
              <a:gd name="connsiteX12" fmla="*/ 828010 w 2090559"/>
              <a:gd name="connsiteY12" fmla="*/ 2167002 h 2561350"/>
              <a:gd name="connsiteX13" fmla="*/ 135085 w 2090559"/>
              <a:gd name="connsiteY13" fmla="*/ 2200159 h 2561350"/>
              <a:gd name="connsiteX14" fmla="*/ 6108 w 2090559"/>
              <a:gd name="connsiteY14" fmla="*/ 1657531 h 2561350"/>
              <a:gd name="connsiteX15" fmla="*/ 276504 w 2090559"/>
              <a:gd name="connsiteY15" fmla="*/ 1561668 h 2561350"/>
              <a:gd name="connsiteX16" fmla="*/ 254230 w 2090559"/>
              <a:gd name="connsiteY16" fmla="*/ 1045298 h 2561350"/>
              <a:gd name="connsiteX17" fmla="*/ 13568 w 2090559"/>
              <a:gd name="connsiteY17" fmla="*/ 1018431 h 2561350"/>
              <a:gd name="connsiteX18" fmla="*/ 115191 w 2090559"/>
              <a:gd name="connsiteY18" fmla="*/ 382371 h 2561350"/>
              <a:gd name="connsiteX19" fmla="*/ 832981 w 2090559"/>
              <a:gd name="connsiteY19" fmla="*/ 389002 h 2561350"/>
              <a:gd name="connsiteX20" fmla="*/ 798077 w 2090559"/>
              <a:gd name="connsiteY20" fmla="*/ 283670 h 2561350"/>
              <a:gd name="connsiteX21" fmla="*/ 1033820 w 2090559"/>
              <a:gd name="connsiteY21" fmla="*/ 3 h 2561350"/>
              <a:gd name="connsiteX0" fmla="*/ 1032856 w 2089595"/>
              <a:gd name="connsiteY0" fmla="*/ 3 h 2561350"/>
              <a:gd name="connsiteX1" fmla="*/ 1247169 w 2089595"/>
              <a:gd name="connsiteY1" fmla="*/ 286050 h 2561350"/>
              <a:gd name="connsiteX2" fmla="*/ 1225033 w 2089595"/>
              <a:gd name="connsiteY2" fmla="*/ 389002 h 2561350"/>
              <a:gd name="connsiteX3" fmla="*/ 1976321 w 2089595"/>
              <a:gd name="connsiteY3" fmla="*/ 369108 h 2561350"/>
              <a:gd name="connsiteX4" fmla="*/ 1969689 w 2089595"/>
              <a:gd name="connsiteY4" fmla="*/ 1096546 h 2561350"/>
              <a:gd name="connsiteX5" fmla="*/ 1867109 w 2089595"/>
              <a:gd name="connsiteY5" fmla="*/ 1037347 h 2561350"/>
              <a:gd name="connsiteX6" fmla="*/ 1851467 w 2089595"/>
              <a:gd name="connsiteY6" fmla="*/ 1520560 h 2561350"/>
              <a:gd name="connsiteX7" fmla="*/ 2002847 w 2089595"/>
              <a:gd name="connsiteY7" fmla="*/ 1456260 h 2561350"/>
              <a:gd name="connsiteX8" fmla="*/ 1956427 w 2089595"/>
              <a:gd name="connsiteY8" fmla="*/ 2180265 h 2561350"/>
              <a:gd name="connsiteX9" fmla="*/ 1227296 w 2089595"/>
              <a:gd name="connsiteY9" fmla="*/ 2167002 h 2561350"/>
              <a:gd name="connsiteX10" fmla="*/ 1247169 w 2089595"/>
              <a:gd name="connsiteY10" fmla="*/ 2275300 h 2561350"/>
              <a:gd name="connsiteX11" fmla="*/ 797113 w 2089595"/>
              <a:gd name="connsiteY11" fmla="*/ 2277680 h 2561350"/>
              <a:gd name="connsiteX12" fmla="*/ 827046 w 2089595"/>
              <a:gd name="connsiteY12" fmla="*/ 2167002 h 2561350"/>
              <a:gd name="connsiteX13" fmla="*/ 134121 w 2089595"/>
              <a:gd name="connsiteY13" fmla="*/ 2200159 h 2561350"/>
              <a:gd name="connsiteX14" fmla="*/ 5144 w 2089595"/>
              <a:gd name="connsiteY14" fmla="*/ 1657531 h 2561350"/>
              <a:gd name="connsiteX15" fmla="*/ 275540 w 2089595"/>
              <a:gd name="connsiteY15" fmla="*/ 1561668 h 2561350"/>
              <a:gd name="connsiteX16" fmla="*/ 253266 w 2089595"/>
              <a:gd name="connsiteY16" fmla="*/ 1045298 h 2561350"/>
              <a:gd name="connsiteX17" fmla="*/ 12604 w 2089595"/>
              <a:gd name="connsiteY17" fmla="*/ 1018431 h 2561350"/>
              <a:gd name="connsiteX18" fmla="*/ 114227 w 2089595"/>
              <a:gd name="connsiteY18" fmla="*/ 382371 h 2561350"/>
              <a:gd name="connsiteX19" fmla="*/ 832017 w 2089595"/>
              <a:gd name="connsiteY19" fmla="*/ 389002 h 2561350"/>
              <a:gd name="connsiteX20" fmla="*/ 797113 w 2089595"/>
              <a:gd name="connsiteY20" fmla="*/ 283670 h 2561350"/>
              <a:gd name="connsiteX21" fmla="*/ 1032856 w 2089595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5501"/>
              <a:gd name="connsiteY0" fmla="*/ 3 h 2561350"/>
              <a:gd name="connsiteX1" fmla="*/ 1243075 w 2085501"/>
              <a:gd name="connsiteY1" fmla="*/ 286050 h 2561350"/>
              <a:gd name="connsiteX2" fmla="*/ 1220939 w 2085501"/>
              <a:gd name="connsiteY2" fmla="*/ 389002 h 2561350"/>
              <a:gd name="connsiteX3" fmla="*/ 1972227 w 2085501"/>
              <a:gd name="connsiteY3" fmla="*/ 369108 h 2561350"/>
              <a:gd name="connsiteX4" fmla="*/ 1965595 w 2085501"/>
              <a:gd name="connsiteY4" fmla="*/ 1096546 h 2561350"/>
              <a:gd name="connsiteX5" fmla="*/ 1863015 w 2085501"/>
              <a:gd name="connsiteY5" fmla="*/ 1037347 h 2561350"/>
              <a:gd name="connsiteX6" fmla="*/ 1847373 w 2085501"/>
              <a:gd name="connsiteY6" fmla="*/ 1520560 h 2561350"/>
              <a:gd name="connsiteX7" fmla="*/ 1998753 w 2085501"/>
              <a:gd name="connsiteY7" fmla="*/ 1456260 h 2561350"/>
              <a:gd name="connsiteX8" fmla="*/ 1952333 w 2085501"/>
              <a:gd name="connsiteY8" fmla="*/ 2180265 h 2561350"/>
              <a:gd name="connsiteX9" fmla="*/ 1223202 w 2085501"/>
              <a:gd name="connsiteY9" fmla="*/ 2167002 h 2561350"/>
              <a:gd name="connsiteX10" fmla="*/ 1243075 w 2085501"/>
              <a:gd name="connsiteY10" fmla="*/ 2275300 h 2561350"/>
              <a:gd name="connsiteX11" fmla="*/ 793019 w 2085501"/>
              <a:gd name="connsiteY11" fmla="*/ 2277680 h 2561350"/>
              <a:gd name="connsiteX12" fmla="*/ 822952 w 2085501"/>
              <a:gd name="connsiteY12" fmla="*/ 2167002 h 2561350"/>
              <a:gd name="connsiteX13" fmla="*/ 130027 w 2085501"/>
              <a:gd name="connsiteY13" fmla="*/ 2200159 h 2561350"/>
              <a:gd name="connsiteX14" fmla="*/ 1050 w 2085501"/>
              <a:gd name="connsiteY14" fmla="*/ 1657531 h 2561350"/>
              <a:gd name="connsiteX15" fmla="*/ 271446 w 2085501"/>
              <a:gd name="connsiteY15" fmla="*/ 1561668 h 2561350"/>
              <a:gd name="connsiteX16" fmla="*/ 249172 w 2085501"/>
              <a:gd name="connsiteY16" fmla="*/ 1045298 h 2561350"/>
              <a:gd name="connsiteX17" fmla="*/ 8510 w 2085501"/>
              <a:gd name="connsiteY17" fmla="*/ 1018431 h 2561350"/>
              <a:gd name="connsiteX18" fmla="*/ 110133 w 2085501"/>
              <a:gd name="connsiteY18" fmla="*/ 382371 h 2561350"/>
              <a:gd name="connsiteX19" fmla="*/ 827923 w 2085501"/>
              <a:gd name="connsiteY19" fmla="*/ 389002 h 2561350"/>
              <a:gd name="connsiteX20" fmla="*/ 793019 w 2085501"/>
              <a:gd name="connsiteY20" fmla="*/ 283670 h 2561350"/>
              <a:gd name="connsiteX21" fmla="*/ 1028762 w 2085501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863015 w 2081039"/>
              <a:gd name="connsiteY4" fmla="*/ 1037347 h 2561350"/>
              <a:gd name="connsiteX5" fmla="*/ 1847373 w 2081039"/>
              <a:gd name="connsiteY5" fmla="*/ 1520560 h 2561350"/>
              <a:gd name="connsiteX6" fmla="*/ 1998753 w 2081039"/>
              <a:gd name="connsiteY6" fmla="*/ 1456260 h 2561350"/>
              <a:gd name="connsiteX7" fmla="*/ 1952333 w 2081039"/>
              <a:gd name="connsiteY7" fmla="*/ 2180265 h 2561350"/>
              <a:gd name="connsiteX8" fmla="*/ 1223202 w 2081039"/>
              <a:gd name="connsiteY8" fmla="*/ 2167002 h 2561350"/>
              <a:gd name="connsiteX9" fmla="*/ 1243075 w 2081039"/>
              <a:gd name="connsiteY9" fmla="*/ 2275300 h 2561350"/>
              <a:gd name="connsiteX10" fmla="*/ 793019 w 2081039"/>
              <a:gd name="connsiteY10" fmla="*/ 2277680 h 2561350"/>
              <a:gd name="connsiteX11" fmla="*/ 822952 w 2081039"/>
              <a:gd name="connsiteY11" fmla="*/ 2167002 h 2561350"/>
              <a:gd name="connsiteX12" fmla="*/ 130027 w 2081039"/>
              <a:gd name="connsiteY12" fmla="*/ 2200159 h 2561350"/>
              <a:gd name="connsiteX13" fmla="*/ 1050 w 2081039"/>
              <a:gd name="connsiteY13" fmla="*/ 1657531 h 2561350"/>
              <a:gd name="connsiteX14" fmla="*/ 271446 w 2081039"/>
              <a:gd name="connsiteY14" fmla="*/ 1561668 h 2561350"/>
              <a:gd name="connsiteX15" fmla="*/ 249172 w 2081039"/>
              <a:gd name="connsiteY15" fmla="*/ 1045298 h 2561350"/>
              <a:gd name="connsiteX16" fmla="*/ 8510 w 2081039"/>
              <a:gd name="connsiteY16" fmla="*/ 1018431 h 2561350"/>
              <a:gd name="connsiteX17" fmla="*/ 110133 w 2081039"/>
              <a:gd name="connsiteY17" fmla="*/ 382371 h 2561350"/>
              <a:gd name="connsiteX18" fmla="*/ 827923 w 2081039"/>
              <a:gd name="connsiteY18" fmla="*/ 389002 h 2561350"/>
              <a:gd name="connsiteX19" fmla="*/ 793019 w 2081039"/>
              <a:gd name="connsiteY19" fmla="*/ 283670 h 2561350"/>
              <a:gd name="connsiteX20" fmla="*/ 1028762 w 2081039"/>
              <a:gd name="connsiteY20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1933270 w 2081039"/>
              <a:gd name="connsiteY4" fmla="*/ 764780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72227 w 2081039"/>
              <a:gd name="connsiteY3" fmla="*/ 36910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7307 w 2081039"/>
              <a:gd name="connsiteY3" fmla="*/ 371595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81039"/>
              <a:gd name="connsiteY0" fmla="*/ 3 h 2561350"/>
              <a:gd name="connsiteX1" fmla="*/ 1243075 w 2081039"/>
              <a:gd name="connsiteY1" fmla="*/ 286050 h 2561350"/>
              <a:gd name="connsiteX2" fmla="*/ 1220939 w 2081039"/>
              <a:gd name="connsiteY2" fmla="*/ 389002 h 2561350"/>
              <a:gd name="connsiteX3" fmla="*/ 1959793 w 2081039"/>
              <a:gd name="connsiteY3" fmla="*/ 361648 h 2561350"/>
              <a:gd name="connsiteX4" fmla="*/ 2067556 w 2081039"/>
              <a:gd name="connsiteY4" fmla="*/ 961234 h 2561350"/>
              <a:gd name="connsiteX5" fmla="*/ 1863015 w 2081039"/>
              <a:gd name="connsiteY5" fmla="*/ 1037347 h 2561350"/>
              <a:gd name="connsiteX6" fmla="*/ 1847373 w 2081039"/>
              <a:gd name="connsiteY6" fmla="*/ 1520560 h 2561350"/>
              <a:gd name="connsiteX7" fmla="*/ 1998753 w 2081039"/>
              <a:gd name="connsiteY7" fmla="*/ 1456260 h 2561350"/>
              <a:gd name="connsiteX8" fmla="*/ 1952333 w 2081039"/>
              <a:gd name="connsiteY8" fmla="*/ 2180265 h 2561350"/>
              <a:gd name="connsiteX9" fmla="*/ 1223202 w 2081039"/>
              <a:gd name="connsiteY9" fmla="*/ 2167002 h 2561350"/>
              <a:gd name="connsiteX10" fmla="*/ 1243075 w 2081039"/>
              <a:gd name="connsiteY10" fmla="*/ 2275300 h 2561350"/>
              <a:gd name="connsiteX11" fmla="*/ 793019 w 2081039"/>
              <a:gd name="connsiteY11" fmla="*/ 2277680 h 2561350"/>
              <a:gd name="connsiteX12" fmla="*/ 822952 w 2081039"/>
              <a:gd name="connsiteY12" fmla="*/ 2167002 h 2561350"/>
              <a:gd name="connsiteX13" fmla="*/ 130027 w 2081039"/>
              <a:gd name="connsiteY13" fmla="*/ 2200159 h 2561350"/>
              <a:gd name="connsiteX14" fmla="*/ 1050 w 2081039"/>
              <a:gd name="connsiteY14" fmla="*/ 1657531 h 2561350"/>
              <a:gd name="connsiteX15" fmla="*/ 271446 w 2081039"/>
              <a:gd name="connsiteY15" fmla="*/ 1561668 h 2561350"/>
              <a:gd name="connsiteX16" fmla="*/ 249172 w 2081039"/>
              <a:gd name="connsiteY16" fmla="*/ 1045298 h 2561350"/>
              <a:gd name="connsiteX17" fmla="*/ 8510 w 2081039"/>
              <a:gd name="connsiteY17" fmla="*/ 1018431 h 2561350"/>
              <a:gd name="connsiteX18" fmla="*/ 110133 w 2081039"/>
              <a:gd name="connsiteY18" fmla="*/ 382371 h 2561350"/>
              <a:gd name="connsiteX19" fmla="*/ 827923 w 2081039"/>
              <a:gd name="connsiteY19" fmla="*/ 389002 h 2561350"/>
              <a:gd name="connsiteX20" fmla="*/ 793019 w 2081039"/>
              <a:gd name="connsiteY20" fmla="*/ 283670 h 2561350"/>
              <a:gd name="connsiteX21" fmla="*/ 1028762 w 208103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1890996 w 2072429"/>
              <a:gd name="connsiteY7" fmla="*/ 1722186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20560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63015 w 2072429"/>
              <a:gd name="connsiteY5" fmla="*/ 1037347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47373 w 2072429"/>
              <a:gd name="connsiteY5" fmla="*/ 1535481 h 2561350"/>
              <a:gd name="connsiteX6" fmla="*/ 2065070 w 2072429"/>
              <a:gd name="connsiteY6" fmla="*/ 1597847 h 2561350"/>
              <a:gd name="connsiteX7" fmla="*/ 1952333 w 2072429"/>
              <a:gd name="connsiteY7" fmla="*/ 2180265 h 2561350"/>
              <a:gd name="connsiteX8" fmla="*/ 1223202 w 2072429"/>
              <a:gd name="connsiteY8" fmla="*/ 2167002 h 2561350"/>
              <a:gd name="connsiteX9" fmla="*/ 1243075 w 2072429"/>
              <a:gd name="connsiteY9" fmla="*/ 2275300 h 2561350"/>
              <a:gd name="connsiteX10" fmla="*/ 793019 w 2072429"/>
              <a:gd name="connsiteY10" fmla="*/ 2277680 h 2561350"/>
              <a:gd name="connsiteX11" fmla="*/ 822952 w 2072429"/>
              <a:gd name="connsiteY11" fmla="*/ 2167002 h 2561350"/>
              <a:gd name="connsiteX12" fmla="*/ 130027 w 2072429"/>
              <a:gd name="connsiteY12" fmla="*/ 2200159 h 2561350"/>
              <a:gd name="connsiteX13" fmla="*/ 1050 w 2072429"/>
              <a:gd name="connsiteY13" fmla="*/ 1657531 h 2561350"/>
              <a:gd name="connsiteX14" fmla="*/ 271446 w 2072429"/>
              <a:gd name="connsiteY14" fmla="*/ 1561668 h 2561350"/>
              <a:gd name="connsiteX15" fmla="*/ 249172 w 2072429"/>
              <a:gd name="connsiteY15" fmla="*/ 1045298 h 2561350"/>
              <a:gd name="connsiteX16" fmla="*/ 8510 w 2072429"/>
              <a:gd name="connsiteY16" fmla="*/ 1018431 h 2561350"/>
              <a:gd name="connsiteX17" fmla="*/ 110133 w 2072429"/>
              <a:gd name="connsiteY17" fmla="*/ 382371 h 2561350"/>
              <a:gd name="connsiteX18" fmla="*/ 827923 w 2072429"/>
              <a:gd name="connsiteY18" fmla="*/ 389002 h 2561350"/>
              <a:gd name="connsiteX19" fmla="*/ 793019 w 2072429"/>
              <a:gd name="connsiteY19" fmla="*/ 283670 h 2561350"/>
              <a:gd name="connsiteX20" fmla="*/ 1028762 w 2072429"/>
              <a:gd name="connsiteY20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997927 w 2072429"/>
              <a:gd name="connsiteY5" fmla="*/ 118007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3536 w 2072429"/>
              <a:gd name="connsiteY5" fmla="*/ 1025891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72429"/>
              <a:gd name="connsiteY0" fmla="*/ 3 h 2561350"/>
              <a:gd name="connsiteX1" fmla="*/ 1243075 w 2072429"/>
              <a:gd name="connsiteY1" fmla="*/ 286050 h 2561350"/>
              <a:gd name="connsiteX2" fmla="*/ 1220939 w 2072429"/>
              <a:gd name="connsiteY2" fmla="*/ 389002 h 2561350"/>
              <a:gd name="connsiteX3" fmla="*/ 1959793 w 2072429"/>
              <a:gd name="connsiteY3" fmla="*/ 361648 h 2561350"/>
              <a:gd name="connsiteX4" fmla="*/ 2067556 w 2072429"/>
              <a:gd name="connsiteY4" fmla="*/ 961234 h 2561350"/>
              <a:gd name="connsiteX5" fmla="*/ 1881048 w 2072429"/>
              <a:gd name="connsiteY5" fmla="*/ 1030865 h 2561350"/>
              <a:gd name="connsiteX6" fmla="*/ 1847373 w 2072429"/>
              <a:gd name="connsiteY6" fmla="*/ 1535481 h 2561350"/>
              <a:gd name="connsiteX7" fmla="*/ 2065070 w 2072429"/>
              <a:gd name="connsiteY7" fmla="*/ 1597847 h 2561350"/>
              <a:gd name="connsiteX8" fmla="*/ 1952333 w 2072429"/>
              <a:gd name="connsiteY8" fmla="*/ 2180265 h 2561350"/>
              <a:gd name="connsiteX9" fmla="*/ 1223202 w 2072429"/>
              <a:gd name="connsiteY9" fmla="*/ 2167002 h 2561350"/>
              <a:gd name="connsiteX10" fmla="*/ 1243075 w 2072429"/>
              <a:gd name="connsiteY10" fmla="*/ 2275300 h 2561350"/>
              <a:gd name="connsiteX11" fmla="*/ 793019 w 2072429"/>
              <a:gd name="connsiteY11" fmla="*/ 2277680 h 2561350"/>
              <a:gd name="connsiteX12" fmla="*/ 822952 w 2072429"/>
              <a:gd name="connsiteY12" fmla="*/ 2167002 h 2561350"/>
              <a:gd name="connsiteX13" fmla="*/ 130027 w 2072429"/>
              <a:gd name="connsiteY13" fmla="*/ 2200159 h 2561350"/>
              <a:gd name="connsiteX14" fmla="*/ 1050 w 2072429"/>
              <a:gd name="connsiteY14" fmla="*/ 1657531 h 2561350"/>
              <a:gd name="connsiteX15" fmla="*/ 271446 w 2072429"/>
              <a:gd name="connsiteY15" fmla="*/ 1561668 h 2561350"/>
              <a:gd name="connsiteX16" fmla="*/ 249172 w 2072429"/>
              <a:gd name="connsiteY16" fmla="*/ 1045298 h 2561350"/>
              <a:gd name="connsiteX17" fmla="*/ 8510 w 2072429"/>
              <a:gd name="connsiteY17" fmla="*/ 1018431 h 2561350"/>
              <a:gd name="connsiteX18" fmla="*/ 110133 w 2072429"/>
              <a:gd name="connsiteY18" fmla="*/ 382371 h 2561350"/>
              <a:gd name="connsiteX19" fmla="*/ 827923 w 2072429"/>
              <a:gd name="connsiteY19" fmla="*/ 389002 h 2561350"/>
              <a:gd name="connsiteX20" fmla="*/ 793019 w 2072429"/>
              <a:gd name="connsiteY20" fmla="*/ 283670 h 2561350"/>
              <a:gd name="connsiteX21" fmla="*/ 1028762 w 2072429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49172 w 2069564"/>
              <a:gd name="connsiteY16" fmla="*/ 1045298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8510 w 2069564"/>
              <a:gd name="connsiteY17" fmla="*/ 1018431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71446 w 2069564"/>
              <a:gd name="connsiteY15" fmla="*/ 1561668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58483 w 2069564"/>
              <a:gd name="connsiteY15" fmla="*/ 1557347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762 w 2069564"/>
              <a:gd name="connsiteY0" fmla="*/ 3 h 2561350"/>
              <a:gd name="connsiteX1" fmla="*/ 1243075 w 2069564"/>
              <a:gd name="connsiteY1" fmla="*/ 286050 h 2561350"/>
              <a:gd name="connsiteX2" fmla="*/ 1220939 w 2069564"/>
              <a:gd name="connsiteY2" fmla="*/ 389002 h 2561350"/>
              <a:gd name="connsiteX3" fmla="*/ 1959793 w 2069564"/>
              <a:gd name="connsiteY3" fmla="*/ 361648 h 2561350"/>
              <a:gd name="connsiteX4" fmla="*/ 2067556 w 2069564"/>
              <a:gd name="connsiteY4" fmla="*/ 961234 h 2561350"/>
              <a:gd name="connsiteX5" fmla="*/ 1881048 w 2069564"/>
              <a:gd name="connsiteY5" fmla="*/ 1030865 h 2561350"/>
              <a:gd name="connsiteX6" fmla="*/ 1847373 w 2069564"/>
              <a:gd name="connsiteY6" fmla="*/ 1535481 h 2561350"/>
              <a:gd name="connsiteX7" fmla="*/ 2065070 w 2069564"/>
              <a:gd name="connsiteY7" fmla="*/ 1597847 h 2561350"/>
              <a:gd name="connsiteX8" fmla="*/ 1952333 w 2069564"/>
              <a:gd name="connsiteY8" fmla="*/ 2180265 h 2561350"/>
              <a:gd name="connsiteX9" fmla="*/ 1223202 w 2069564"/>
              <a:gd name="connsiteY9" fmla="*/ 2167002 h 2561350"/>
              <a:gd name="connsiteX10" fmla="*/ 1243075 w 2069564"/>
              <a:gd name="connsiteY10" fmla="*/ 2275300 h 2561350"/>
              <a:gd name="connsiteX11" fmla="*/ 793019 w 2069564"/>
              <a:gd name="connsiteY11" fmla="*/ 2277680 h 2561350"/>
              <a:gd name="connsiteX12" fmla="*/ 822952 w 2069564"/>
              <a:gd name="connsiteY12" fmla="*/ 2167002 h 2561350"/>
              <a:gd name="connsiteX13" fmla="*/ 130027 w 2069564"/>
              <a:gd name="connsiteY13" fmla="*/ 2200159 h 2561350"/>
              <a:gd name="connsiteX14" fmla="*/ 1050 w 2069564"/>
              <a:gd name="connsiteY14" fmla="*/ 1657531 h 2561350"/>
              <a:gd name="connsiteX15" fmla="*/ 258483 w 2069564"/>
              <a:gd name="connsiteY15" fmla="*/ 1557347 h 2561350"/>
              <a:gd name="connsiteX16" fmla="*/ 270777 w 2069564"/>
              <a:gd name="connsiteY16" fmla="*/ 1028015 h 2561350"/>
              <a:gd name="connsiteX17" fmla="*/ 30115 w 2069564"/>
              <a:gd name="connsiteY17" fmla="*/ 1005469 h 2561350"/>
              <a:gd name="connsiteX18" fmla="*/ 110133 w 2069564"/>
              <a:gd name="connsiteY18" fmla="*/ 382371 h 2561350"/>
              <a:gd name="connsiteX19" fmla="*/ 827923 w 2069564"/>
              <a:gd name="connsiteY19" fmla="*/ 389002 h 2561350"/>
              <a:gd name="connsiteX20" fmla="*/ 793019 w 2069564"/>
              <a:gd name="connsiteY20" fmla="*/ 283670 h 2561350"/>
              <a:gd name="connsiteX21" fmla="*/ 1028762 w 2069564"/>
              <a:gd name="connsiteY21" fmla="*/ 3 h 2561350"/>
              <a:gd name="connsiteX0" fmla="*/ 1028362 w 2069164"/>
              <a:gd name="connsiteY0" fmla="*/ 3 h 2561350"/>
              <a:gd name="connsiteX1" fmla="*/ 1242675 w 2069164"/>
              <a:gd name="connsiteY1" fmla="*/ 286050 h 2561350"/>
              <a:gd name="connsiteX2" fmla="*/ 1220539 w 2069164"/>
              <a:gd name="connsiteY2" fmla="*/ 389002 h 2561350"/>
              <a:gd name="connsiteX3" fmla="*/ 1959393 w 2069164"/>
              <a:gd name="connsiteY3" fmla="*/ 361648 h 2561350"/>
              <a:gd name="connsiteX4" fmla="*/ 2067156 w 2069164"/>
              <a:gd name="connsiteY4" fmla="*/ 961234 h 2561350"/>
              <a:gd name="connsiteX5" fmla="*/ 1880648 w 2069164"/>
              <a:gd name="connsiteY5" fmla="*/ 1030865 h 2561350"/>
              <a:gd name="connsiteX6" fmla="*/ 1846973 w 2069164"/>
              <a:gd name="connsiteY6" fmla="*/ 1535481 h 2561350"/>
              <a:gd name="connsiteX7" fmla="*/ 2064670 w 2069164"/>
              <a:gd name="connsiteY7" fmla="*/ 1597847 h 2561350"/>
              <a:gd name="connsiteX8" fmla="*/ 1951933 w 2069164"/>
              <a:gd name="connsiteY8" fmla="*/ 2180265 h 2561350"/>
              <a:gd name="connsiteX9" fmla="*/ 1222802 w 2069164"/>
              <a:gd name="connsiteY9" fmla="*/ 2167002 h 2561350"/>
              <a:gd name="connsiteX10" fmla="*/ 1242675 w 2069164"/>
              <a:gd name="connsiteY10" fmla="*/ 2275300 h 2561350"/>
              <a:gd name="connsiteX11" fmla="*/ 792619 w 2069164"/>
              <a:gd name="connsiteY11" fmla="*/ 2277680 h 2561350"/>
              <a:gd name="connsiteX12" fmla="*/ 822552 w 2069164"/>
              <a:gd name="connsiteY12" fmla="*/ 2167002 h 2561350"/>
              <a:gd name="connsiteX13" fmla="*/ 129627 w 2069164"/>
              <a:gd name="connsiteY13" fmla="*/ 2200159 h 2561350"/>
              <a:gd name="connsiteX14" fmla="*/ 650 w 2069164"/>
              <a:gd name="connsiteY14" fmla="*/ 1657531 h 2561350"/>
              <a:gd name="connsiteX15" fmla="*/ 258083 w 2069164"/>
              <a:gd name="connsiteY15" fmla="*/ 1557347 h 2561350"/>
              <a:gd name="connsiteX16" fmla="*/ 270377 w 2069164"/>
              <a:gd name="connsiteY16" fmla="*/ 1028015 h 2561350"/>
              <a:gd name="connsiteX17" fmla="*/ 29715 w 2069164"/>
              <a:gd name="connsiteY17" fmla="*/ 1005469 h 2561350"/>
              <a:gd name="connsiteX18" fmla="*/ 109733 w 2069164"/>
              <a:gd name="connsiteY18" fmla="*/ 382371 h 2561350"/>
              <a:gd name="connsiteX19" fmla="*/ 827523 w 2069164"/>
              <a:gd name="connsiteY19" fmla="*/ 389002 h 2561350"/>
              <a:gd name="connsiteX20" fmla="*/ 792619 w 2069164"/>
              <a:gd name="connsiteY20" fmla="*/ 283670 h 2561350"/>
              <a:gd name="connsiteX21" fmla="*/ 1028362 w 206916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69727 w 2068514"/>
              <a:gd name="connsiteY16" fmla="*/ 1028015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69727 w 2068514"/>
              <a:gd name="connsiteY16" fmla="*/ 1028015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9083 w 2068514"/>
              <a:gd name="connsiteY18" fmla="*/ 382371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79998 w 2068514"/>
              <a:gd name="connsiteY5" fmla="*/ 1030865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46323 w 2068514"/>
              <a:gd name="connsiteY6" fmla="*/ 1535481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8514"/>
              <a:gd name="connsiteY0" fmla="*/ 3 h 2561350"/>
              <a:gd name="connsiteX1" fmla="*/ 1242025 w 2068514"/>
              <a:gd name="connsiteY1" fmla="*/ 286050 h 2561350"/>
              <a:gd name="connsiteX2" fmla="*/ 1219889 w 2068514"/>
              <a:gd name="connsiteY2" fmla="*/ 389002 h 2561350"/>
              <a:gd name="connsiteX3" fmla="*/ 1958743 w 2068514"/>
              <a:gd name="connsiteY3" fmla="*/ 361648 h 2561350"/>
              <a:gd name="connsiteX4" fmla="*/ 2066506 w 2068514"/>
              <a:gd name="connsiteY4" fmla="*/ 961234 h 2561350"/>
              <a:gd name="connsiteX5" fmla="*/ 1862717 w 2068514"/>
              <a:gd name="connsiteY5" fmla="*/ 1056790 h 2561350"/>
              <a:gd name="connsiteX6" fmla="*/ 1824721 w 2068514"/>
              <a:gd name="connsiteY6" fmla="*/ 1531159 h 2561350"/>
              <a:gd name="connsiteX7" fmla="*/ 2064020 w 2068514"/>
              <a:gd name="connsiteY7" fmla="*/ 1597847 h 2561350"/>
              <a:gd name="connsiteX8" fmla="*/ 1951283 w 2068514"/>
              <a:gd name="connsiteY8" fmla="*/ 2180265 h 2561350"/>
              <a:gd name="connsiteX9" fmla="*/ 1222152 w 2068514"/>
              <a:gd name="connsiteY9" fmla="*/ 2167002 h 2561350"/>
              <a:gd name="connsiteX10" fmla="*/ 1242025 w 2068514"/>
              <a:gd name="connsiteY10" fmla="*/ 2275300 h 2561350"/>
              <a:gd name="connsiteX11" fmla="*/ 791969 w 2068514"/>
              <a:gd name="connsiteY11" fmla="*/ 2277680 h 2561350"/>
              <a:gd name="connsiteX12" fmla="*/ 821902 w 2068514"/>
              <a:gd name="connsiteY12" fmla="*/ 2167002 h 2561350"/>
              <a:gd name="connsiteX13" fmla="*/ 128977 w 2068514"/>
              <a:gd name="connsiteY13" fmla="*/ 2200159 h 2561350"/>
              <a:gd name="connsiteX14" fmla="*/ 0 w 2068514"/>
              <a:gd name="connsiteY14" fmla="*/ 1657531 h 2561350"/>
              <a:gd name="connsiteX15" fmla="*/ 257433 w 2068514"/>
              <a:gd name="connsiteY15" fmla="*/ 1557347 h 2561350"/>
              <a:gd name="connsiteX16" fmla="*/ 239483 w 2068514"/>
              <a:gd name="connsiteY16" fmla="*/ 1049619 h 2561350"/>
              <a:gd name="connsiteX17" fmla="*/ 29065 w 2068514"/>
              <a:gd name="connsiteY17" fmla="*/ 1005469 h 2561350"/>
              <a:gd name="connsiteX18" fmla="*/ 100444 w 2068514"/>
              <a:gd name="connsiteY18" fmla="*/ 369408 h 2561350"/>
              <a:gd name="connsiteX19" fmla="*/ 826873 w 2068514"/>
              <a:gd name="connsiteY19" fmla="*/ 389002 h 2561350"/>
              <a:gd name="connsiteX20" fmla="*/ 791969 w 2068514"/>
              <a:gd name="connsiteY20" fmla="*/ 283670 h 2561350"/>
              <a:gd name="connsiteX21" fmla="*/ 1027712 w 2068514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64020 w 2066875"/>
              <a:gd name="connsiteY7" fmla="*/ 1597847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06489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875"/>
              <a:gd name="connsiteY0" fmla="*/ 3 h 2561350"/>
              <a:gd name="connsiteX1" fmla="*/ 1242025 w 2066875"/>
              <a:gd name="connsiteY1" fmla="*/ 286050 h 2561350"/>
              <a:gd name="connsiteX2" fmla="*/ 1219889 w 2066875"/>
              <a:gd name="connsiteY2" fmla="*/ 389002 h 2561350"/>
              <a:gd name="connsiteX3" fmla="*/ 1958743 w 2066875"/>
              <a:gd name="connsiteY3" fmla="*/ 361648 h 2561350"/>
              <a:gd name="connsiteX4" fmla="*/ 2066506 w 2066875"/>
              <a:gd name="connsiteY4" fmla="*/ 961234 h 2561350"/>
              <a:gd name="connsiteX5" fmla="*/ 1862717 w 2066875"/>
              <a:gd name="connsiteY5" fmla="*/ 1056790 h 2561350"/>
              <a:gd name="connsiteX6" fmla="*/ 1824721 w 2066875"/>
              <a:gd name="connsiteY6" fmla="*/ 1531159 h 2561350"/>
              <a:gd name="connsiteX7" fmla="*/ 2042416 w 2066875"/>
              <a:gd name="connsiteY7" fmla="*/ 1619452 h 2561350"/>
              <a:gd name="connsiteX8" fmla="*/ 1951283 w 2066875"/>
              <a:gd name="connsiteY8" fmla="*/ 2180265 h 2561350"/>
              <a:gd name="connsiteX9" fmla="*/ 1222152 w 2066875"/>
              <a:gd name="connsiteY9" fmla="*/ 2167002 h 2561350"/>
              <a:gd name="connsiteX10" fmla="*/ 1242025 w 2066875"/>
              <a:gd name="connsiteY10" fmla="*/ 2275300 h 2561350"/>
              <a:gd name="connsiteX11" fmla="*/ 791969 w 2066875"/>
              <a:gd name="connsiteY11" fmla="*/ 2277680 h 2561350"/>
              <a:gd name="connsiteX12" fmla="*/ 821902 w 2066875"/>
              <a:gd name="connsiteY12" fmla="*/ 2167002 h 2561350"/>
              <a:gd name="connsiteX13" fmla="*/ 128977 w 2066875"/>
              <a:gd name="connsiteY13" fmla="*/ 2200159 h 2561350"/>
              <a:gd name="connsiteX14" fmla="*/ 0 w 2066875"/>
              <a:gd name="connsiteY14" fmla="*/ 1657531 h 2561350"/>
              <a:gd name="connsiteX15" fmla="*/ 257433 w 2066875"/>
              <a:gd name="connsiteY15" fmla="*/ 1557347 h 2561350"/>
              <a:gd name="connsiteX16" fmla="*/ 239483 w 2066875"/>
              <a:gd name="connsiteY16" fmla="*/ 1049619 h 2561350"/>
              <a:gd name="connsiteX17" fmla="*/ 29065 w 2066875"/>
              <a:gd name="connsiteY17" fmla="*/ 1005469 h 2561350"/>
              <a:gd name="connsiteX18" fmla="*/ 100444 w 2066875"/>
              <a:gd name="connsiteY18" fmla="*/ 369408 h 2561350"/>
              <a:gd name="connsiteX19" fmla="*/ 826873 w 2066875"/>
              <a:gd name="connsiteY19" fmla="*/ 389002 h 2561350"/>
              <a:gd name="connsiteX20" fmla="*/ 791969 w 2066875"/>
              <a:gd name="connsiteY20" fmla="*/ 283670 h 2561350"/>
              <a:gd name="connsiteX21" fmla="*/ 1027712 w 2066875"/>
              <a:gd name="connsiteY21" fmla="*/ 3 h 2561350"/>
              <a:gd name="connsiteX0" fmla="*/ 1027712 w 2066952"/>
              <a:gd name="connsiteY0" fmla="*/ 3 h 2561350"/>
              <a:gd name="connsiteX1" fmla="*/ 1242025 w 2066952"/>
              <a:gd name="connsiteY1" fmla="*/ 286050 h 2561350"/>
              <a:gd name="connsiteX2" fmla="*/ 1219889 w 2066952"/>
              <a:gd name="connsiteY2" fmla="*/ 389002 h 2561350"/>
              <a:gd name="connsiteX3" fmla="*/ 1963063 w 2066952"/>
              <a:gd name="connsiteY3" fmla="*/ 357327 h 2561350"/>
              <a:gd name="connsiteX4" fmla="*/ 2066506 w 2066952"/>
              <a:gd name="connsiteY4" fmla="*/ 961234 h 2561350"/>
              <a:gd name="connsiteX5" fmla="*/ 1862717 w 2066952"/>
              <a:gd name="connsiteY5" fmla="*/ 1056790 h 2561350"/>
              <a:gd name="connsiteX6" fmla="*/ 1824721 w 2066952"/>
              <a:gd name="connsiteY6" fmla="*/ 1531159 h 2561350"/>
              <a:gd name="connsiteX7" fmla="*/ 2042416 w 2066952"/>
              <a:gd name="connsiteY7" fmla="*/ 1619452 h 2561350"/>
              <a:gd name="connsiteX8" fmla="*/ 1951283 w 2066952"/>
              <a:gd name="connsiteY8" fmla="*/ 2180265 h 2561350"/>
              <a:gd name="connsiteX9" fmla="*/ 1222152 w 2066952"/>
              <a:gd name="connsiteY9" fmla="*/ 2167002 h 2561350"/>
              <a:gd name="connsiteX10" fmla="*/ 1242025 w 2066952"/>
              <a:gd name="connsiteY10" fmla="*/ 2275300 h 2561350"/>
              <a:gd name="connsiteX11" fmla="*/ 791969 w 2066952"/>
              <a:gd name="connsiteY11" fmla="*/ 2277680 h 2561350"/>
              <a:gd name="connsiteX12" fmla="*/ 821902 w 2066952"/>
              <a:gd name="connsiteY12" fmla="*/ 2167002 h 2561350"/>
              <a:gd name="connsiteX13" fmla="*/ 128977 w 2066952"/>
              <a:gd name="connsiteY13" fmla="*/ 2200159 h 2561350"/>
              <a:gd name="connsiteX14" fmla="*/ 0 w 2066952"/>
              <a:gd name="connsiteY14" fmla="*/ 1657531 h 2561350"/>
              <a:gd name="connsiteX15" fmla="*/ 257433 w 2066952"/>
              <a:gd name="connsiteY15" fmla="*/ 1557347 h 2561350"/>
              <a:gd name="connsiteX16" fmla="*/ 239483 w 2066952"/>
              <a:gd name="connsiteY16" fmla="*/ 1049619 h 2561350"/>
              <a:gd name="connsiteX17" fmla="*/ 29065 w 2066952"/>
              <a:gd name="connsiteY17" fmla="*/ 1005469 h 2561350"/>
              <a:gd name="connsiteX18" fmla="*/ 100444 w 2066952"/>
              <a:gd name="connsiteY18" fmla="*/ 369408 h 2561350"/>
              <a:gd name="connsiteX19" fmla="*/ 826873 w 2066952"/>
              <a:gd name="connsiteY19" fmla="*/ 389002 h 2561350"/>
              <a:gd name="connsiteX20" fmla="*/ 791969 w 2066952"/>
              <a:gd name="connsiteY20" fmla="*/ 283670 h 2561350"/>
              <a:gd name="connsiteX21" fmla="*/ 1027712 w 2066952"/>
              <a:gd name="connsiteY21" fmla="*/ 3 h 2561350"/>
              <a:gd name="connsiteX0" fmla="*/ 1027712 w 2067063"/>
              <a:gd name="connsiteY0" fmla="*/ 3 h 2561350"/>
              <a:gd name="connsiteX1" fmla="*/ 1242025 w 2067063"/>
              <a:gd name="connsiteY1" fmla="*/ 286050 h 2561350"/>
              <a:gd name="connsiteX2" fmla="*/ 1219889 w 2067063"/>
              <a:gd name="connsiteY2" fmla="*/ 389002 h 2561350"/>
              <a:gd name="connsiteX3" fmla="*/ 1967384 w 2067063"/>
              <a:gd name="connsiteY3" fmla="*/ 344364 h 2561350"/>
              <a:gd name="connsiteX4" fmla="*/ 2066506 w 2067063"/>
              <a:gd name="connsiteY4" fmla="*/ 961234 h 2561350"/>
              <a:gd name="connsiteX5" fmla="*/ 1862717 w 2067063"/>
              <a:gd name="connsiteY5" fmla="*/ 1056790 h 2561350"/>
              <a:gd name="connsiteX6" fmla="*/ 1824721 w 2067063"/>
              <a:gd name="connsiteY6" fmla="*/ 1531159 h 2561350"/>
              <a:gd name="connsiteX7" fmla="*/ 2042416 w 2067063"/>
              <a:gd name="connsiteY7" fmla="*/ 1619452 h 2561350"/>
              <a:gd name="connsiteX8" fmla="*/ 1951283 w 2067063"/>
              <a:gd name="connsiteY8" fmla="*/ 2180265 h 2561350"/>
              <a:gd name="connsiteX9" fmla="*/ 1222152 w 2067063"/>
              <a:gd name="connsiteY9" fmla="*/ 2167002 h 2561350"/>
              <a:gd name="connsiteX10" fmla="*/ 1242025 w 2067063"/>
              <a:gd name="connsiteY10" fmla="*/ 2275300 h 2561350"/>
              <a:gd name="connsiteX11" fmla="*/ 791969 w 2067063"/>
              <a:gd name="connsiteY11" fmla="*/ 2277680 h 2561350"/>
              <a:gd name="connsiteX12" fmla="*/ 821902 w 2067063"/>
              <a:gd name="connsiteY12" fmla="*/ 2167002 h 2561350"/>
              <a:gd name="connsiteX13" fmla="*/ 128977 w 2067063"/>
              <a:gd name="connsiteY13" fmla="*/ 2200159 h 2561350"/>
              <a:gd name="connsiteX14" fmla="*/ 0 w 2067063"/>
              <a:gd name="connsiteY14" fmla="*/ 1657531 h 2561350"/>
              <a:gd name="connsiteX15" fmla="*/ 257433 w 2067063"/>
              <a:gd name="connsiteY15" fmla="*/ 1557347 h 2561350"/>
              <a:gd name="connsiteX16" fmla="*/ 239483 w 2067063"/>
              <a:gd name="connsiteY16" fmla="*/ 1049619 h 2561350"/>
              <a:gd name="connsiteX17" fmla="*/ 29065 w 2067063"/>
              <a:gd name="connsiteY17" fmla="*/ 1005469 h 2561350"/>
              <a:gd name="connsiteX18" fmla="*/ 100444 w 2067063"/>
              <a:gd name="connsiteY18" fmla="*/ 369408 h 2561350"/>
              <a:gd name="connsiteX19" fmla="*/ 826873 w 2067063"/>
              <a:gd name="connsiteY19" fmla="*/ 389002 h 2561350"/>
              <a:gd name="connsiteX20" fmla="*/ 791969 w 2067063"/>
              <a:gd name="connsiteY20" fmla="*/ 283670 h 2561350"/>
              <a:gd name="connsiteX21" fmla="*/ 1027712 w 2067063"/>
              <a:gd name="connsiteY21" fmla="*/ 3 h 2561350"/>
              <a:gd name="connsiteX0" fmla="*/ 1027712 w 2067063"/>
              <a:gd name="connsiteY0" fmla="*/ 3 h 2561350"/>
              <a:gd name="connsiteX1" fmla="*/ 1242025 w 2067063"/>
              <a:gd name="connsiteY1" fmla="*/ 286050 h 2561350"/>
              <a:gd name="connsiteX2" fmla="*/ 1219889 w 2067063"/>
              <a:gd name="connsiteY2" fmla="*/ 389002 h 2561350"/>
              <a:gd name="connsiteX3" fmla="*/ 1967384 w 2067063"/>
              <a:gd name="connsiteY3" fmla="*/ 344364 h 2561350"/>
              <a:gd name="connsiteX4" fmla="*/ 2066506 w 2067063"/>
              <a:gd name="connsiteY4" fmla="*/ 961234 h 2561350"/>
              <a:gd name="connsiteX5" fmla="*/ 1862717 w 2067063"/>
              <a:gd name="connsiteY5" fmla="*/ 1056790 h 2561350"/>
              <a:gd name="connsiteX6" fmla="*/ 1824721 w 2067063"/>
              <a:gd name="connsiteY6" fmla="*/ 1531159 h 2561350"/>
              <a:gd name="connsiteX7" fmla="*/ 2042416 w 2067063"/>
              <a:gd name="connsiteY7" fmla="*/ 1619452 h 2561350"/>
              <a:gd name="connsiteX8" fmla="*/ 1951283 w 2067063"/>
              <a:gd name="connsiteY8" fmla="*/ 2180265 h 2561350"/>
              <a:gd name="connsiteX9" fmla="*/ 1222152 w 2067063"/>
              <a:gd name="connsiteY9" fmla="*/ 2167002 h 2561350"/>
              <a:gd name="connsiteX10" fmla="*/ 1242025 w 2067063"/>
              <a:gd name="connsiteY10" fmla="*/ 2275300 h 2561350"/>
              <a:gd name="connsiteX11" fmla="*/ 791969 w 2067063"/>
              <a:gd name="connsiteY11" fmla="*/ 2277680 h 2561350"/>
              <a:gd name="connsiteX12" fmla="*/ 821902 w 2067063"/>
              <a:gd name="connsiteY12" fmla="*/ 2167002 h 2561350"/>
              <a:gd name="connsiteX13" fmla="*/ 128977 w 2067063"/>
              <a:gd name="connsiteY13" fmla="*/ 2200159 h 2561350"/>
              <a:gd name="connsiteX14" fmla="*/ 0 w 2067063"/>
              <a:gd name="connsiteY14" fmla="*/ 1657531 h 2561350"/>
              <a:gd name="connsiteX15" fmla="*/ 257433 w 2067063"/>
              <a:gd name="connsiteY15" fmla="*/ 1557347 h 2561350"/>
              <a:gd name="connsiteX16" fmla="*/ 239483 w 2067063"/>
              <a:gd name="connsiteY16" fmla="*/ 1049619 h 2561350"/>
              <a:gd name="connsiteX17" fmla="*/ 29065 w 2067063"/>
              <a:gd name="connsiteY17" fmla="*/ 1005469 h 2561350"/>
              <a:gd name="connsiteX18" fmla="*/ 100444 w 2067063"/>
              <a:gd name="connsiteY18" fmla="*/ 369408 h 2561350"/>
              <a:gd name="connsiteX19" fmla="*/ 826873 w 2067063"/>
              <a:gd name="connsiteY19" fmla="*/ 389002 h 2561350"/>
              <a:gd name="connsiteX20" fmla="*/ 791969 w 2067063"/>
              <a:gd name="connsiteY20" fmla="*/ 283670 h 2561350"/>
              <a:gd name="connsiteX21" fmla="*/ 1027712 w 2067063"/>
              <a:gd name="connsiteY21" fmla="*/ 3 h 2561350"/>
              <a:gd name="connsiteX0" fmla="*/ 1027712 w 2066650"/>
              <a:gd name="connsiteY0" fmla="*/ 3 h 2561350"/>
              <a:gd name="connsiteX1" fmla="*/ 1242025 w 2066650"/>
              <a:gd name="connsiteY1" fmla="*/ 286050 h 2561350"/>
              <a:gd name="connsiteX2" fmla="*/ 1219889 w 2066650"/>
              <a:gd name="connsiteY2" fmla="*/ 389002 h 2561350"/>
              <a:gd name="connsiteX3" fmla="*/ 1967384 w 2066650"/>
              <a:gd name="connsiteY3" fmla="*/ 344364 h 2561350"/>
              <a:gd name="connsiteX4" fmla="*/ 2066506 w 2066650"/>
              <a:gd name="connsiteY4" fmla="*/ 961234 h 2561350"/>
              <a:gd name="connsiteX5" fmla="*/ 1862717 w 2066650"/>
              <a:gd name="connsiteY5" fmla="*/ 1056790 h 2561350"/>
              <a:gd name="connsiteX6" fmla="*/ 1824721 w 2066650"/>
              <a:gd name="connsiteY6" fmla="*/ 1531159 h 2561350"/>
              <a:gd name="connsiteX7" fmla="*/ 2042416 w 2066650"/>
              <a:gd name="connsiteY7" fmla="*/ 1619452 h 2561350"/>
              <a:gd name="connsiteX8" fmla="*/ 1951283 w 2066650"/>
              <a:gd name="connsiteY8" fmla="*/ 2180265 h 2561350"/>
              <a:gd name="connsiteX9" fmla="*/ 1222152 w 2066650"/>
              <a:gd name="connsiteY9" fmla="*/ 2167002 h 2561350"/>
              <a:gd name="connsiteX10" fmla="*/ 1242025 w 2066650"/>
              <a:gd name="connsiteY10" fmla="*/ 2275300 h 2561350"/>
              <a:gd name="connsiteX11" fmla="*/ 791969 w 2066650"/>
              <a:gd name="connsiteY11" fmla="*/ 2277680 h 2561350"/>
              <a:gd name="connsiteX12" fmla="*/ 821902 w 2066650"/>
              <a:gd name="connsiteY12" fmla="*/ 2167002 h 2561350"/>
              <a:gd name="connsiteX13" fmla="*/ 128977 w 2066650"/>
              <a:gd name="connsiteY13" fmla="*/ 2200159 h 2561350"/>
              <a:gd name="connsiteX14" fmla="*/ 0 w 2066650"/>
              <a:gd name="connsiteY14" fmla="*/ 1657531 h 2561350"/>
              <a:gd name="connsiteX15" fmla="*/ 257433 w 2066650"/>
              <a:gd name="connsiteY15" fmla="*/ 1557347 h 2561350"/>
              <a:gd name="connsiteX16" fmla="*/ 239483 w 2066650"/>
              <a:gd name="connsiteY16" fmla="*/ 1049619 h 2561350"/>
              <a:gd name="connsiteX17" fmla="*/ 29065 w 2066650"/>
              <a:gd name="connsiteY17" fmla="*/ 1005469 h 2561350"/>
              <a:gd name="connsiteX18" fmla="*/ 100444 w 2066650"/>
              <a:gd name="connsiteY18" fmla="*/ 369408 h 2561350"/>
              <a:gd name="connsiteX19" fmla="*/ 826873 w 2066650"/>
              <a:gd name="connsiteY19" fmla="*/ 389002 h 2561350"/>
              <a:gd name="connsiteX20" fmla="*/ 791969 w 2066650"/>
              <a:gd name="connsiteY20" fmla="*/ 283670 h 2561350"/>
              <a:gd name="connsiteX21" fmla="*/ 1027712 w 2066650"/>
              <a:gd name="connsiteY21" fmla="*/ 3 h 2561350"/>
              <a:gd name="connsiteX0" fmla="*/ 1027712 w 2049409"/>
              <a:gd name="connsiteY0" fmla="*/ 3 h 2561350"/>
              <a:gd name="connsiteX1" fmla="*/ 1242025 w 2049409"/>
              <a:gd name="connsiteY1" fmla="*/ 286050 h 2561350"/>
              <a:gd name="connsiteX2" fmla="*/ 1219889 w 2049409"/>
              <a:gd name="connsiteY2" fmla="*/ 389002 h 2561350"/>
              <a:gd name="connsiteX3" fmla="*/ 1967384 w 2049409"/>
              <a:gd name="connsiteY3" fmla="*/ 344364 h 2561350"/>
              <a:gd name="connsiteX4" fmla="*/ 2049225 w 2049409"/>
              <a:gd name="connsiteY4" fmla="*/ 926667 h 2561350"/>
              <a:gd name="connsiteX5" fmla="*/ 1862717 w 2049409"/>
              <a:gd name="connsiteY5" fmla="*/ 1056790 h 2561350"/>
              <a:gd name="connsiteX6" fmla="*/ 1824721 w 2049409"/>
              <a:gd name="connsiteY6" fmla="*/ 1531159 h 2561350"/>
              <a:gd name="connsiteX7" fmla="*/ 2042416 w 2049409"/>
              <a:gd name="connsiteY7" fmla="*/ 1619452 h 2561350"/>
              <a:gd name="connsiteX8" fmla="*/ 1951283 w 2049409"/>
              <a:gd name="connsiteY8" fmla="*/ 2180265 h 2561350"/>
              <a:gd name="connsiteX9" fmla="*/ 1222152 w 2049409"/>
              <a:gd name="connsiteY9" fmla="*/ 2167002 h 2561350"/>
              <a:gd name="connsiteX10" fmla="*/ 1242025 w 2049409"/>
              <a:gd name="connsiteY10" fmla="*/ 2275300 h 2561350"/>
              <a:gd name="connsiteX11" fmla="*/ 791969 w 2049409"/>
              <a:gd name="connsiteY11" fmla="*/ 2277680 h 2561350"/>
              <a:gd name="connsiteX12" fmla="*/ 821902 w 2049409"/>
              <a:gd name="connsiteY12" fmla="*/ 2167002 h 2561350"/>
              <a:gd name="connsiteX13" fmla="*/ 128977 w 2049409"/>
              <a:gd name="connsiteY13" fmla="*/ 2200159 h 2561350"/>
              <a:gd name="connsiteX14" fmla="*/ 0 w 2049409"/>
              <a:gd name="connsiteY14" fmla="*/ 1657531 h 2561350"/>
              <a:gd name="connsiteX15" fmla="*/ 257433 w 2049409"/>
              <a:gd name="connsiteY15" fmla="*/ 1557347 h 2561350"/>
              <a:gd name="connsiteX16" fmla="*/ 239483 w 2049409"/>
              <a:gd name="connsiteY16" fmla="*/ 1049619 h 2561350"/>
              <a:gd name="connsiteX17" fmla="*/ 29065 w 2049409"/>
              <a:gd name="connsiteY17" fmla="*/ 1005469 h 2561350"/>
              <a:gd name="connsiteX18" fmla="*/ 100444 w 2049409"/>
              <a:gd name="connsiteY18" fmla="*/ 369408 h 2561350"/>
              <a:gd name="connsiteX19" fmla="*/ 826873 w 2049409"/>
              <a:gd name="connsiteY19" fmla="*/ 389002 h 2561350"/>
              <a:gd name="connsiteX20" fmla="*/ 791969 w 2049409"/>
              <a:gd name="connsiteY20" fmla="*/ 283670 h 2561350"/>
              <a:gd name="connsiteX21" fmla="*/ 1027712 w 2049409"/>
              <a:gd name="connsiteY21" fmla="*/ 3 h 2561350"/>
              <a:gd name="connsiteX0" fmla="*/ 1027712 w 2049338"/>
              <a:gd name="connsiteY0" fmla="*/ 3 h 2561350"/>
              <a:gd name="connsiteX1" fmla="*/ 1242025 w 2049338"/>
              <a:gd name="connsiteY1" fmla="*/ 286050 h 2561350"/>
              <a:gd name="connsiteX2" fmla="*/ 1219889 w 2049338"/>
              <a:gd name="connsiteY2" fmla="*/ 389002 h 2561350"/>
              <a:gd name="connsiteX3" fmla="*/ 1967384 w 2049338"/>
              <a:gd name="connsiteY3" fmla="*/ 344364 h 2561350"/>
              <a:gd name="connsiteX4" fmla="*/ 2049225 w 2049338"/>
              <a:gd name="connsiteY4" fmla="*/ 926667 h 2561350"/>
              <a:gd name="connsiteX5" fmla="*/ 1862717 w 2049338"/>
              <a:gd name="connsiteY5" fmla="*/ 1056790 h 2561350"/>
              <a:gd name="connsiteX6" fmla="*/ 1824721 w 2049338"/>
              <a:gd name="connsiteY6" fmla="*/ 1531159 h 2561350"/>
              <a:gd name="connsiteX7" fmla="*/ 2042416 w 2049338"/>
              <a:gd name="connsiteY7" fmla="*/ 1619452 h 2561350"/>
              <a:gd name="connsiteX8" fmla="*/ 1951283 w 2049338"/>
              <a:gd name="connsiteY8" fmla="*/ 2180265 h 2561350"/>
              <a:gd name="connsiteX9" fmla="*/ 1222152 w 2049338"/>
              <a:gd name="connsiteY9" fmla="*/ 2167002 h 2561350"/>
              <a:gd name="connsiteX10" fmla="*/ 1242025 w 2049338"/>
              <a:gd name="connsiteY10" fmla="*/ 2275300 h 2561350"/>
              <a:gd name="connsiteX11" fmla="*/ 791969 w 2049338"/>
              <a:gd name="connsiteY11" fmla="*/ 2277680 h 2561350"/>
              <a:gd name="connsiteX12" fmla="*/ 821902 w 2049338"/>
              <a:gd name="connsiteY12" fmla="*/ 2167002 h 2561350"/>
              <a:gd name="connsiteX13" fmla="*/ 128977 w 2049338"/>
              <a:gd name="connsiteY13" fmla="*/ 2200159 h 2561350"/>
              <a:gd name="connsiteX14" fmla="*/ 0 w 2049338"/>
              <a:gd name="connsiteY14" fmla="*/ 1657531 h 2561350"/>
              <a:gd name="connsiteX15" fmla="*/ 257433 w 2049338"/>
              <a:gd name="connsiteY15" fmla="*/ 1557347 h 2561350"/>
              <a:gd name="connsiteX16" fmla="*/ 239483 w 2049338"/>
              <a:gd name="connsiteY16" fmla="*/ 1049619 h 2561350"/>
              <a:gd name="connsiteX17" fmla="*/ 29065 w 2049338"/>
              <a:gd name="connsiteY17" fmla="*/ 1005469 h 2561350"/>
              <a:gd name="connsiteX18" fmla="*/ 100444 w 2049338"/>
              <a:gd name="connsiteY18" fmla="*/ 369408 h 2561350"/>
              <a:gd name="connsiteX19" fmla="*/ 826873 w 2049338"/>
              <a:gd name="connsiteY19" fmla="*/ 389002 h 2561350"/>
              <a:gd name="connsiteX20" fmla="*/ 791969 w 2049338"/>
              <a:gd name="connsiteY20" fmla="*/ 283670 h 2561350"/>
              <a:gd name="connsiteX21" fmla="*/ 1027712 w 2049338"/>
              <a:gd name="connsiteY21" fmla="*/ 3 h 2561350"/>
              <a:gd name="connsiteX0" fmla="*/ 1027712 w 2053522"/>
              <a:gd name="connsiteY0" fmla="*/ 3 h 2561350"/>
              <a:gd name="connsiteX1" fmla="*/ 1242025 w 2053522"/>
              <a:gd name="connsiteY1" fmla="*/ 286050 h 2561350"/>
              <a:gd name="connsiteX2" fmla="*/ 1219889 w 2053522"/>
              <a:gd name="connsiteY2" fmla="*/ 389002 h 2561350"/>
              <a:gd name="connsiteX3" fmla="*/ 1967384 w 2053522"/>
              <a:gd name="connsiteY3" fmla="*/ 344364 h 2561350"/>
              <a:gd name="connsiteX4" fmla="*/ 2049225 w 2053522"/>
              <a:gd name="connsiteY4" fmla="*/ 926667 h 2561350"/>
              <a:gd name="connsiteX5" fmla="*/ 1862717 w 2053522"/>
              <a:gd name="connsiteY5" fmla="*/ 1056790 h 2561350"/>
              <a:gd name="connsiteX6" fmla="*/ 1824721 w 2053522"/>
              <a:gd name="connsiteY6" fmla="*/ 1531159 h 2561350"/>
              <a:gd name="connsiteX7" fmla="*/ 2042416 w 2053522"/>
              <a:gd name="connsiteY7" fmla="*/ 1619452 h 2561350"/>
              <a:gd name="connsiteX8" fmla="*/ 1951283 w 2053522"/>
              <a:gd name="connsiteY8" fmla="*/ 2180265 h 2561350"/>
              <a:gd name="connsiteX9" fmla="*/ 1222152 w 2053522"/>
              <a:gd name="connsiteY9" fmla="*/ 2167002 h 2561350"/>
              <a:gd name="connsiteX10" fmla="*/ 1242025 w 2053522"/>
              <a:gd name="connsiteY10" fmla="*/ 2275300 h 2561350"/>
              <a:gd name="connsiteX11" fmla="*/ 791969 w 2053522"/>
              <a:gd name="connsiteY11" fmla="*/ 2277680 h 2561350"/>
              <a:gd name="connsiteX12" fmla="*/ 821902 w 2053522"/>
              <a:gd name="connsiteY12" fmla="*/ 2167002 h 2561350"/>
              <a:gd name="connsiteX13" fmla="*/ 128977 w 2053522"/>
              <a:gd name="connsiteY13" fmla="*/ 2200159 h 2561350"/>
              <a:gd name="connsiteX14" fmla="*/ 0 w 2053522"/>
              <a:gd name="connsiteY14" fmla="*/ 1657531 h 2561350"/>
              <a:gd name="connsiteX15" fmla="*/ 257433 w 2053522"/>
              <a:gd name="connsiteY15" fmla="*/ 1557347 h 2561350"/>
              <a:gd name="connsiteX16" fmla="*/ 239483 w 2053522"/>
              <a:gd name="connsiteY16" fmla="*/ 1049619 h 2561350"/>
              <a:gd name="connsiteX17" fmla="*/ 29065 w 2053522"/>
              <a:gd name="connsiteY17" fmla="*/ 1005469 h 2561350"/>
              <a:gd name="connsiteX18" fmla="*/ 100444 w 2053522"/>
              <a:gd name="connsiteY18" fmla="*/ 369408 h 2561350"/>
              <a:gd name="connsiteX19" fmla="*/ 826873 w 2053522"/>
              <a:gd name="connsiteY19" fmla="*/ 389002 h 2561350"/>
              <a:gd name="connsiteX20" fmla="*/ 791969 w 2053522"/>
              <a:gd name="connsiteY20" fmla="*/ 283670 h 2561350"/>
              <a:gd name="connsiteX21" fmla="*/ 1027712 w 2053522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27712 w 2053521"/>
              <a:gd name="connsiteY0" fmla="*/ 3 h 2561350"/>
              <a:gd name="connsiteX1" fmla="*/ 1242025 w 2053521"/>
              <a:gd name="connsiteY1" fmla="*/ 286050 h 2561350"/>
              <a:gd name="connsiteX2" fmla="*/ 1219889 w 2053521"/>
              <a:gd name="connsiteY2" fmla="*/ 389002 h 2561350"/>
              <a:gd name="connsiteX3" fmla="*/ 1967384 w 2053521"/>
              <a:gd name="connsiteY3" fmla="*/ 344364 h 2561350"/>
              <a:gd name="connsiteX4" fmla="*/ 2049225 w 2053521"/>
              <a:gd name="connsiteY4" fmla="*/ 926667 h 2561350"/>
              <a:gd name="connsiteX5" fmla="*/ 1862717 w 2053521"/>
              <a:gd name="connsiteY5" fmla="*/ 1056790 h 2561350"/>
              <a:gd name="connsiteX6" fmla="*/ 1824721 w 2053521"/>
              <a:gd name="connsiteY6" fmla="*/ 1531159 h 2561350"/>
              <a:gd name="connsiteX7" fmla="*/ 2042416 w 2053521"/>
              <a:gd name="connsiteY7" fmla="*/ 1619452 h 2561350"/>
              <a:gd name="connsiteX8" fmla="*/ 1951283 w 2053521"/>
              <a:gd name="connsiteY8" fmla="*/ 2180265 h 2561350"/>
              <a:gd name="connsiteX9" fmla="*/ 1222152 w 2053521"/>
              <a:gd name="connsiteY9" fmla="*/ 2167002 h 2561350"/>
              <a:gd name="connsiteX10" fmla="*/ 1242025 w 2053521"/>
              <a:gd name="connsiteY10" fmla="*/ 2275300 h 2561350"/>
              <a:gd name="connsiteX11" fmla="*/ 791969 w 2053521"/>
              <a:gd name="connsiteY11" fmla="*/ 2277680 h 2561350"/>
              <a:gd name="connsiteX12" fmla="*/ 821902 w 2053521"/>
              <a:gd name="connsiteY12" fmla="*/ 2167002 h 2561350"/>
              <a:gd name="connsiteX13" fmla="*/ 128977 w 2053521"/>
              <a:gd name="connsiteY13" fmla="*/ 2200159 h 2561350"/>
              <a:gd name="connsiteX14" fmla="*/ 0 w 2053521"/>
              <a:gd name="connsiteY14" fmla="*/ 1657531 h 2561350"/>
              <a:gd name="connsiteX15" fmla="*/ 257433 w 2053521"/>
              <a:gd name="connsiteY15" fmla="*/ 1557347 h 2561350"/>
              <a:gd name="connsiteX16" fmla="*/ 239483 w 2053521"/>
              <a:gd name="connsiteY16" fmla="*/ 1049619 h 2561350"/>
              <a:gd name="connsiteX17" fmla="*/ 29065 w 2053521"/>
              <a:gd name="connsiteY17" fmla="*/ 1005469 h 2561350"/>
              <a:gd name="connsiteX18" fmla="*/ 100444 w 2053521"/>
              <a:gd name="connsiteY18" fmla="*/ 369408 h 2561350"/>
              <a:gd name="connsiteX19" fmla="*/ 826873 w 2053521"/>
              <a:gd name="connsiteY19" fmla="*/ 389002 h 2561350"/>
              <a:gd name="connsiteX20" fmla="*/ 791969 w 2053521"/>
              <a:gd name="connsiteY20" fmla="*/ 283670 h 2561350"/>
              <a:gd name="connsiteX21" fmla="*/ 1027712 w 2053521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4468 w 2040556"/>
              <a:gd name="connsiteY15" fmla="*/ 155734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61667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53025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29451 w 2040556"/>
              <a:gd name="connsiteY7" fmla="*/ 1619452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56790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  <a:gd name="connsiteX0" fmla="*/ 1014747 w 2040556"/>
              <a:gd name="connsiteY0" fmla="*/ 3 h 2561350"/>
              <a:gd name="connsiteX1" fmla="*/ 1229060 w 2040556"/>
              <a:gd name="connsiteY1" fmla="*/ 286050 h 2561350"/>
              <a:gd name="connsiteX2" fmla="*/ 1206924 w 2040556"/>
              <a:gd name="connsiteY2" fmla="*/ 389002 h 2561350"/>
              <a:gd name="connsiteX3" fmla="*/ 1954419 w 2040556"/>
              <a:gd name="connsiteY3" fmla="*/ 344364 h 2561350"/>
              <a:gd name="connsiteX4" fmla="*/ 2036260 w 2040556"/>
              <a:gd name="connsiteY4" fmla="*/ 926667 h 2561350"/>
              <a:gd name="connsiteX5" fmla="*/ 1849752 w 2040556"/>
              <a:gd name="connsiteY5" fmla="*/ 1060129 h 2561350"/>
              <a:gd name="connsiteX6" fmla="*/ 1811756 w 2040556"/>
              <a:gd name="connsiteY6" fmla="*/ 1531159 h 2561350"/>
              <a:gd name="connsiteX7" fmla="*/ 2036129 w 2040556"/>
              <a:gd name="connsiteY7" fmla="*/ 1616113 h 2561350"/>
              <a:gd name="connsiteX8" fmla="*/ 1938318 w 2040556"/>
              <a:gd name="connsiteY8" fmla="*/ 2180265 h 2561350"/>
              <a:gd name="connsiteX9" fmla="*/ 1209187 w 2040556"/>
              <a:gd name="connsiteY9" fmla="*/ 2167002 h 2561350"/>
              <a:gd name="connsiteX10" fmla="*/ 1229060 w 2040556"/>
              <a:gd name="connsiteY10" fmla="*/ 2275300 h 2561350"/>
              <a:gd name="connsiteX11" fmla="*/ 779004 w 2040556"/>
              <a:gd name="connsiteY11" fmla="*/ 2277680 h 2561350"/>
              <a:gd name="connsiteX12" fmla="*/ 808937 w 2040556"/>
              <a:gd name="connsiteY12" fmla="*/ 2167002 h 2561350"/>
              <a:gd name="connsiteX13" fmla="*/ 116012 w 2040556"/>
              <a:gd name="connsiteY13" fmla="*/ 2200159 h 2561350"/>
              <a:gd name="connsiteX14" fmla="*/ 0 w 2040556"/>
              <a:gd name="connsiteY14" fmla="*/ 1657530 h 2561350"/>
              <a:gd name="connsiteX15" fmla="*/ 248790 w 2040556"/>
              <a:gd name="connsiteY15" fmla="*/ 1539671 h 2561350"/>
              <a:gd name="connsiteX16" fmla="*/ 226518 w 2040556"/>
              <a:gd name="connsiteY16" fmla="*/ 1049619 h 2561350"/>
              <a:gd name="connsiteX17" fmla="*/ 16100 w 2040556"/>
              <a:gd name="connsiteY17" fmla="*/ 1005469 h 2561350"/>
              <a:gd name="connsiteX18" fmla="*/ 87479 w 2040556"/>
              <a:gd name="connsiteY18" fmla="*/ 369408 h 2561350"/>
              <a:gd name="connsiteX19" fmla="*/ 813908 w 2040556"/>
              <a:gd name="connsiteY19" fmla="*/ 389002 h 2561350"/>
              <a:gd name="connsiteX20" fmla="*/ 779004 w 2040556"/>
              <a:gd name="connsiteY20" fmla="*/ 283670 h 2561350"/>
              <a:gd name="connsiteX21" fmla="*/ 1014747 w 2040556"/>
              <a:gd name="connsiteY21" fmla="*/ 3 h 256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40556" h="2561350">
                <a:moveTo>
                  <a:pt x="1014747" y="3"/>
                </a:moveTo>
                <a:cubicBezTo>
                  <a:pt x="1183816" y="-691"/>
                  <a:pt x="1351799" y="120921"/>
                  <a:pt x="1229060" y="286050"/>
                </a:cubicBezTo>
                <a:cubicBezTo>
                  <a:pt x="1212950" y="315682"/>
                  <a:pt x="1201168" y="348101"/>
                  <a:pt x="1206924" y="389002"/>
                </a:cubicBezTo>
                <a:cubicBezTo>
                  <a:pt x="1211992" y="528261"/>
                  <a:pt x="1716654" y="452477"/>
                  <a:pt x="1954419" y="344364"/>
                </a:cubicBezTo>
                <a:cubicBezTo>
                  <a:pt x="1970498" y="474789"/>
                  <a:pt x="2061145" y="783619"/>
                  <a:pt x="2036260" y="926667"/>
                </a:cubicBezTo>
                <a:cubicBezTo>
                  <a:pt x="2027166" y="1024060"/>
                  <a:pt x="1970476" y="1153289"/>
                  <a:pt x="1849752" y="1060129"/>
                </a:cubicBezTo>
                <a:cubicBezTo>
                  <a:pt x="1475468" y="853624"/>
                  <a:pt x="1487545" y="1649324"/>
                  <a:pt x="1811756" y="1531159"/>
                </a:cubicBezTo>
                <a:cubicBezTo>
                  <a:pt x="1923754" y="1469515"/>
                  <a:pt x="1987209" y="1400411"/>
                  <a:pt x="2036129" y="1616113"/>
                </a:cubicBezTo>
                <a:cubicBezTo>
                  <a:pt x="2051136" y="1730790"/>
                  <a:pt x="1956393" y="2051666"/>
                  <a:pt x="1938318" y="2180265"/>
                </a:cubicBezTo>
                <a:cubicBezTo>
                  <a:pt x="1741694" y="2153739"/>
                  <a:pt x="1359392" y="2007849"/>
                  <a:pt x="1209187" y="2167002"/>
                </a:cubicBezTo>
                <a:cubicBezTo>
                  <a:pt x="1195706" y="2193452"/>
                  <a:pt x="1198508" y="2230274"/>
                  <a:pt x="1229060" y="2275300"/>
                </a:cubicBezTo>
                <a:cubicBezTo>
                  <a:pt x="1469566" y="2660267"/>
                  <a:pt x="567071" y="2652331"/>
                  <a:pt x="779004" y="2277680"/>
                </a:cubicBezTo>
                <a:cubicBezTo>
                  <a:pt x="817979" y="2223379"/>
                  <a:pt x="825787" y="2190096"/>
                  <a:pt x="808937" y="2167002"/>
                </a:cubicBezTo>
                <a:cubicBezTo>
                  <a:pt x="706169" y="2021111"/>
                  <a:pt x="364670" y="2147108"/>
                  <a:pt x="116012" y="2200159"/>
                </a:cubicBezTo>
                <a:cubicBezTo>
                  <a:pt x="57942" y="2073996"/>
                  <a:pt x="976" y="1794778"/>
                  <a:pt x="0" y="1657530"/>
                </a:cubicBezTo>
                <a:cubicBezTo>
                  <a:pt x="23569" y="1399547"/>
                  <a:pt x="142648" y="1475748"/>
                  <a:pt x="248790" y="1539671"/>
                </a:cubicBezTo>
                <a:cubicBezTo>
                  <a:pt x="563771" y="1555589"/>
                  <a:pt x="485163" y="925406"/>
                  <a:pt x="226518" y="1049619"/>
                </a:cubicBezTo>
                <a:cubicBezTo>
                  <a:pt x="150003" y="1086365"/>
                  <a:pt x="56561" y="1164379"/>
                  <a:pt x="16100" y="1005469"/>
                </a:cubicBezTo>
                <a:cubicBezTo>
                  <a:pt x="-32993" y="864734"/>
                  <a:pt x="47286" y="478570"/>
                  <a:pt x="87479" y="369408"/>
                </a:cubicBezTo>
                <a:cubicBezTo>
                  <a:pt x="483685" y="502036"/>
                  <a:pt x="775797" y="488473"/>
                  <a:pt x="813908" y="389002"/>
                </a:cubicBezTo>
                <a:cubicBezTo>
                  <a:pt x="824229" y="365427"/>
                  <a:pt x="814657" y="333342"/>
                  <a:pt x="779004" y="283670"/>
                </a:cubicBezTo>
                <a:cubicBezTo>
                  <a:pt x="673038" y="96344"/>
                  <a:pt x="845678" y="698"/>
                  <a:pt x="1014747" y="3"/>
                </a:cubicBezTo>
                <a:close/>
              </a:path>
            </a:pathLst>
          </a:custGeom>
          <a:solidFill>
            <a:srgbClr val="A4A4A4"/>
          </a:solidFill>
          <a:ln w="9525">
            <a:noFill/>
          </a:ln>
          <a:scene3d>
            <a:camera prst="orthographicFront"/>
            <a:lightRig rig="threePt" dir="t"/>
          </a:scene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TextBox 155"/>
          <p:cNvSpPr txBox="1"/>
          <p:nvPr/>
        </p:nvSpPr>
        <p:spPr>
          <a:xfrm>
            <a:off x="2842097" y="1927271"/>
            <a:ext cx="1251222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o Code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225962" y="1983088"/>
            <a:ext cx="114145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s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1656590" y="1940864"/>
            <a:ext cx="1251222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x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6390786" y="3118069"/>
            <a:ext cx="895377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its</a:t>
            </a: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reas Examined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174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en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8" name="Table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1429881"/>
              </p:ext>
            </p:extLst>
          </p:nvPr>
        </p:nvGraphicFramePr>
        <p:xfrm>
          <a:off x="1536473" y="1203598"/>
          <a:ext cx="6275887" cy="185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55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6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Scope and Objectives </a:t>
                      </a:r>
                      <a:endParaRPr lang="el-GR" sz="1800" b="1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 Segmentation Proces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 Key Findings</a:t>
                      </a:r>
                      <a:endParaRPr lang="el-GR" sz="1800" b="1" kern="12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4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8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</a:t>
                      </a:r>
                      <a:r>
                        <a:rPr lang="en-US" sz="1800" b="1" kern="1200" baseline="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gmentation  Results</a:t>
                      </a:r>
                    </a:p>
                  </a:txBody>
                  <a:tcPr marL="0" marR="0" anchor="ctr"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 marL="0" marR="0" anchor="ctr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D0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2681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111C5565-5229-4182-95CD-3417EB04C2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sigh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568032" y="608770"/>
            <a:ext cx="7772400" cy="473666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AC5C51B-0C80-4FF8-948C-878FB8873BC3}"/>
              </a:ext>
            </a:extLst>
          </p:cNvPr>
          <p:cNvSpPr txBox="1"/>
          <p:nvPr/>
        </p:nvSpPr>
        <p:spPr>
          <a:xfrm>
            <a:off x="1691680" y="3649117"/>
            <a:ext cx="5760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ost of casino games show constant mean meaning there is no seasonality or tre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Oryx though, has some high seasonality from time to time and brings in large amounts of pro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uld mean the existence of seasonal offers</a:t>
            </a:r>
            <a:endParaRPr lang="el-GR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277A97-5F62-417A-94B8-4543B1D0B0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06731" y="1021335"/>
            <a:ext cx="5911587" cy="20867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450CCF-286B-48FB-85F3-4CF9197E4BC8}"/>
              </a:ext>
            </a:extLst>
          </p:cNvPr>
          <p:cNvSpPr txBox="1"/>
          <p:nvPr/>
        </p:nvSpPr>
        <p:spPr>
          <a:xfrm>
            <a:off x="0" y="4680952"/>
            <a:ext cx="16357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i="1" dirty="0"/>
              <a:t>Company Profit = Revenue – Costs</a:t>
            </a:r>
          </a:p>
          <a:p>
            <a:r>
              <a:rPr lang="en-US" sz="600" b="1" i="1" dirty="0"/>
              <a:t>Revenue = Amount paid to the user</a:t>
            </a:r>
          </a:p>
          <a:p>
            <a:r>
              <a:rPr lang="en-US" sz="600" b="1" i="1" dirty="0"/>
              <a:t>Cost = Amount earned from the user</a:t>
            </a:r>
            <a:endParaRPr lang="el-GR" sz="600" b="1" i="1" dirty="0"/>
          </a:p>
        </p:txBody>
      </p:sp>
    </p:spTree>
    <p:extLst>
      <p:ext uri="{BB962C8B-B14F-4D97-AF65-F5344CB8AC3E}">
        <p14:creationId xmlns:p14="http://schemas.microsoft.com/office/powerpoint/2010/main" val="2563542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111C5565-5229-4182-95CD-3417EB04C2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sigh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568032" y="608770"/>
            <a:ext cx="7772400" cy="473666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AC5C51B-0C80-4FF8-948C-878FB8873BC3}"/>
              </a:ext>
            </a:extLst>
          </p:cNvPr>
          <p:cNvSpPr txBox="1"/>
          <p:nvPr/>
        </p:nvSpPr>
        <p:spPr>
          <a:xfrm>
            <a:off x="1691680" y="3649117"/>
            <a:ext cx="5760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Iforium</a:t>
            </a:r>
            <a:r>
              <a:rPr lang="en-US" sz="1200" dirty="0"/>
              <a:t> and </a:t>
            </a:r>
            <a:r>
              <a:rPr lang="en-US" sz="1200" dirty="0" err="1"/>
              <a:t>Skywind</a:t>
            </a:r>
            <a:r>
              <a:rPr lang="en-US" sz="1200" dirty="0"/>
              <a:t> bring in most of profit but they also have a lot of popularity between distinct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On the contrary, Oryx has the largest profit/user ratio</a:t>
            </a:r>
            <a:endParaRPr lang="el-GR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277A97-5F62-417A-94B8-4543B1D0B0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87445" y="1021335"/>
            <a:ext cx="5350158" cy="20867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8923A52-707B-44A7-88E8-D3A696349D8D}"/>
              </a:ext>
            </a:extLst>
          </p:cNvPr>
          <p:cNvSpPr txBox="1"/>
          <p:nvPr/>
        </p:nvSpPr>
        <p:spPr>
          <a:xfrm>
            <a:off x="0" y="4680952"/>
            <a:ext cx="16357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i="1" dirty="0"/>
              <a:t>Company Profit = Revenue – Costs</a:t>
            </a:r>
          </a:p>
          <a:p>
            <a:r>
              <a:rPr lang="en-US" sz="600" b="1" i="1" dirty="0"/>
              <a:t>Revenue = Amount paid to the user</a:t>
            </a:r>
          </a:p>
          <a:p>
            <a:r>
              <a:rPr lang="en-US" sz="600" b="1" i="1" dirty="0"/>
              <a:t>Cost = Amount earned from the user</a:t>
            </a:r>
            <a:endParaRPr lang="el-GR" sz="600" b="1" i="1" dirty="0"/>
          </a:p>
        </p:txBody>
      </p:sp>
    </p:spTree>
    <p:extLst>
      <p:ext uri="{BB962C8B-B14F-4D97-AF65-F5344CB8AC3E}">
        <p14:creationId xmlns:p14="http://schemas.microsoft.com/office/powerpoint/2010/main" val="2771190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111C5565-5229-4182-95CD-3417EB04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4" y="1657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657"/>
                        <a:ext cx="1259" cy="12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A485A-D45B-40E8-A921-15067FA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394"/>
            <a:ext cx="125985" cy="1259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9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b="1" dirty="0" err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568032" y="100396"/>
            <a:ext cx="8229600" cy="565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3B61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sights</a:t>
            </a:r>
            <a:endParaRPr lang="el-GR" sz="1905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568032" y="608770"/>
            <a:ext cx="7772400" cy="473666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6D86FD-A31C-42BB-AE3A-2ABF59AF54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1632" y="1151016"/>
            <a:ext cx="2904336" cy="22477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268A88-842B-4825-A815-A0E3FFD439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9308" y="1055480"/>
            <a:ext cx="3962413" cy="2438777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AC5C51B-0C80-4FF8-948C-878FB8873BC3}"/>
              </a:ext>
            </a:extLst>
          </p:cNvPr>
          <p:cNvSpPr txBox="1"/>
          <p:nvPr/>
        </p:nvSpPr>
        <p:spPr>
          <a:xfrm>
            <a:off x="1691680" y="3939902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ransactions via VISA card are the majo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ransaction method does not present significant change between segments</a:t>
            </a:r>
            <a:endParaRPr lang="el-GR" sz="1200" dirty="0"/>
          </a:p>
        </p:txBody>
      </p:sp>
    </p:spTree>
    <p:extLst>
      <p:ext uri="{BB962C8B-B14F-4D97-AF65-F5344CB8AC3E}">
        <p14:creationId xmlns:p14="http://schemas.microsoft.com/office/powerpoint/2010/main" val="2508215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4.11174238595815921826E+00&quot;&gt;&lt;m_msothmcolidx val=&quot;0&quot;/&gt;&lt;m_rgb r=&quot;BF&quot; g=&quot;E4&quot; b=&quot;29&quot;/&gt;&lt;m_nBrightness endver=&quot;26206&quot; val=&quot;0&quot;/&gt;&lt;/elem&gt;&lt;elem m_fUsage=&quot;7.29000000000000092371E-01&quot;&gt;&lt;m_msothmcolidx val=&quot;0&quot;/&gt;&lt;m_rgb r=&quot;B1&quot; g=&quot;B1&quot; b=&quot;B3&quot;/&gt;&lt;m_nBrightness endver=&quot;26206&quot; val=&quot;0&quot;/&gt;&lt;/elem&gt;&lt;elem m_fUsage=&quot;6.56100000000000127542E-01&quot;&gt;&lt;m_msothmcolidx val=&quot;0&quot;/&gt;&lt;m_rgb r=&quot;D0&quot; g=&quot;D0&quot; b=&quot;CE&quot;/&gt;&lt;m_nBrightness endver=&quot;26206&quot; val=&quot;0&quot;/&gt;&lt;/elem&gt;&lt;elem m_fUsage=&quot;5.90490000000000181402E-01&quot;&gt;&lt;m_msothmcolidx val=&quot;0&quot;/&gt;&lt;m_rgb r=&quot;97&quot; g=&quot;D7&quot; b=&quot;00&quot;/&gt;&lt;m_nBrightness endver=&quot;26206&quot; val=&quot;0&quot;/&gt;&lt;/elem&gt;&lt;elem m_fUsage=&quot;5.31441000000000163261E-01&quot;&gt;&lt;m_msothmcolidx val=&quot;0&quot;/&gt;&lt;m_rgb r=&quot;D2&quot; g=&quot;D7&quot; b=&quot;55&quot;/&gt;&lt;m_nBrightness endver=&quot;26206&quot; val=&quot;0&quot;/&gt;&lt;/elem&gt;&lt;elem m_fUsage=&quot;4.78296900000000135833E-01&quot;&gt;&lt;m_msothmcolidx val=&quot;0&quot;/&gt;&lt;m_rgb r=&quot;50&quot; g=&quot;9E&quot; b=&quot;2F&quot;/&gt;&lt;m_nBrightness endver=&quot;26206&quot; val=&quot;0&quot;/&gt;&lt;/elem&gt;&lt;elem m_fUsage=&quot;3.87420489000000145552E-01&quot;&gt;&lt;m_msothmcolidx val=&quot;0&quot;/&gt;&lt;m_rgb r=&quot;81&quot; g=&quot;A7&quot; b=&quot;9A&quot;/&gt;&lt;m_nBrightness endver=&quot;26206&quot; val=&quot;0&quot;/&gt;&lt;/elem&gt;&lt;elem m_fUsage=&quot;3.48678440100000153201E-01&quot;&gt;&lt;m_msothmcolidx val=&quot;0&quot;/&gt;&lt;m_rgb r=&quot;95&quot; g=&quot;D7&quot; b=&quot;A6&quot;/&gt;&lt;m_nBrightness endver=&quot;26206&quot; val=&quot;0&quot;/&gt;&lt;/elem&gt;&lt;elem m_fUsage=&quot;3.13810596090000171188E-01&quot;&gt;&lt;m_msothmcolidx val=&quot;0&quot;/&gt;&lt;m_rgb r=&quot;83&quot; g=&quot;DD&quot; b=&quot;3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VWC8uGXuhKZLD_kLd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4.GCv_RU.eWBUqp37o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f59BF8lGqVuS4IK9j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7Yc_kJRYw7nAUGw2x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aster - Pos">
  <a:themeElements>
    <a:clrScheme name="Cosmote PPT Colours 0515">
      <a:dk1>
        <a:srgbClr val="3D5265"/>
      </a:dk1>
      <a:lt1>
        <a:sysClr val="window" lastClr="FFFFFF"/>
      </a:lt1>
      <a:dk2>
        <a:srgbClr val="3B61A6"/>
      </a:dk2>
      <a:lt2>
        <a:srgbClr val="B1B1B3"/>
      </a:lt2>
      <a:accent1>
        <a:srgbClr val="509E2F"/>
      </a:accent1>
      <a:accent2>
        <a:srgbClr val="D2D755"/>
      </a:accent2>
      <a:accent3>
        <a:srgbClr val="97D700"/>
      </a:accent3>
      <a:accent4>
        <a:srgbClr val="00A0DC"/>
      </a:accent4>
      <a:accent5>
        <a:srgbClr val="D0D0CE"/>
      </a:accent5>
      <a:accent6>
        <a:srgbClr val="B1B1B3"/>
      </a:accent6>
      <a:hlink>
        <a:srgbClr val="509E2F"/>
      </a:hlink>
      <a:folHlink>
        <a:srgbClr val="3B61A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Autofit/>
      </a:bodyPr>
      <a:lstStyle>
        <a:defPPr>
          <a:defRPr sz="18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133</TotalTime>
  <Words>645</Words>
  <Application>Microsoft Office PowerPoint</Application>
  <PresentationFormat>On-screen Show (16:9)</PresentationFormat>
  <Paragraphs>28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Bebas Neue</vt:lpstr>
      <vt:lpstr>Calibri</vt:lpstr>
      <vt:lpstr>Calibri Light</vt:lpstr>
      <vt:lpstr>Symbol</vt:lpstr>
      <vt:lpstr>Wingdings</vt:lpstr>
      <vt:lpstr>Office Theme</vt:lpstr>
      <vt:lpstr>PRESENTATIONLOAD</vt:lpstr>
      <vt:lpstr>Master - Po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:</dc:title>
  <dc:creator>I Tsiliras</dc:creator>
  <cp:lastModifiedBy>ΓΕΩΡΓΙΟΣ</cp:lastModifiedBy>
  <cp:revision>375</cp:revision>
  <dcterms:created xsi:type="dcterms:W3CDTF">2018-11-29T17:00:25Z</dcterms:created>
  <dcterms:modified xsi:type="dcterms:W3CDTF">2022-04-14T13:59:28Z</dcterms:modified>
</cp:coreProperties>
</file>